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44"/>
  </p:notesMasterIdLst>
  <p:handoutMasterIdLst>
    <p:handoutMasterId r:id="rId45"/>
  </p:handoutMasterIdLst>
  <p:sldIdLst>
    <p:sldId id="3809" r:id="rId5"/>
    <p:sldId id="2147470139" r:id="rId6"/>
    <p:sldId id="2147308015" r:id="rId7"/>
    <p:sldId id="2147470722" r:id="rId8"/>
    <p:sldId id="4589" r:id="rId9"/>
    <p:sldId id="2147470730" r:id="rId10"/>
    <p:sldId id="2147470732" r:id="rId11"/>
    <p:sldId id="2147470160" r:id="rId12"/>
    <p:sldId id="2147471205" r:id="rId13"/>
    <p:sldId id="2147470728" r:id="rId14"/>
    <p:sldId id="2147471206" r:id="rId15"/>
    <p:sldId id="2147374392" r:id="rId16"/>
    <p:sldId id="2147471200" r:id="rId17"/>
    <p:sldId id="2147471207" r:id="rId18"/>
    <p:sldId id="2147374395" r:id="rId19"/>
    <p:sldId id="2147471201" r:id="rId20"/>
    <p:sldId id="2147470724" r:id="rId21"/>
    <p:sldId id="2147471209" r:id="rId22"/>
    <p:sldId id="2147309127" r:id="rId23"/>
    <p:sldId id="2147471202" r:id="rId24"/>
    <p:sldId id="2147309191" r:id="rId25"/>
    <p:sldId id="3072" r:id="rId26"/>
    <p:sldId id="2147307243" r:id="rId27"/>
    <p:sldId id="2147307244" r:id="rId28"/>
    <p:sldId id="3081" r:id="rId29"/>
    <p:sldId id="2147471208" r:id="rId30"/>
    <p:sldId id="1000383" r:id="rId31"/>
    <p:sldId id="2147308543" r:id="rId32"/>
    <p:sldId id="2147310004" r:id="rId33"/>
    <p:sldId id="2147374231" r:id="rId34"/>
    <p:sldId id="2147307578" r:id="rId35"/>
    <p:sldId id="293" r:id="rId36"/>
    <p:sldId id="2147307581" r:id="rId37"/>
    <p:sldId id="2147310191" r:id="rId38"/>
    <p:sldId id="2147310186" r:id="rId39"/>
    <p:sldId id="2147374234" r:id="rId40"/>
    <p:sldId id="2147310009" r:id="rId41"/>
    <p:sldId id="3808" r:id="rId42"/>
    <p:sldId id="275" r:id="rId43"/>
  </p:sldIdLst>
  <p:sldSz cx="9144000" cy="5143500" type="screen16x9"/>
  <p:notesSz cx="6934200" cy="92202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4" orient="horz" pos="7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3C5"/>
    <a:srgbClr val="6E2585"/>
    <a:srgbClr val="001942"/>
    <a:srgbClr val="CC6600"/>
    <a:srgbClr val="0076CE"/>
    <a:srgbClr val="808080"/>
    <a:srgbClr val="EEEEEE"/>
    <a:srgbClr val="C8C9C7"/>
    <a:srgbClr val="B7295A"/>
    <a:srgbClr val="41B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7" d="100"/>
          <a:sy n="137" d="100"/>
        </p:scale>
        <p:origin x="864" y="120"/>
      </p:cViewPr>
      <p:guideLst>
        <p:guide pos="3240"/>
        <p:guide orient="horz" pos="7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do, Masaki" userId="2b6f3f0d-b94f-4594-a7aa-f151f0bab74b" providerId="ADAL" clId="{1889789F-556E-4527-BDC2-CFF771C1637B}"/>
    <pc:docChg chg="modSld">
      <pc:chgData name="Kondo, Masaki" userId="2b6f3f0d-b94f-4594-a7aa-f151f0bab74b" providerId="ADAL" clId="{1889789F-556E-4527-BDC2-CFF771C1637B}" dt="2023-04-28T05:19:20.921" v="10" actId="6549"/>
      <pc:docMkLst>
        <pc:docMk/>
      </pc:docMkLst>
      <pc:sldChg chg="modNotesTx">
        <pc:chgData name="Kondo, Masaki" userId="2b6f3f0d-b94f-4594-a7aa-f151f0bab74b" providerId="ADAL" clId="{1889789F-556E-4527-BDC2-CFF771C1637B}" dt="2023-04-28T05:18:58.841" v="8" actId="6549"/>
        <pc:sldMkLst>
          <pc:docMk/>
          <pc:sldMk cId="914673122" sldId="3072"/>
        </pc:sldMkLst>
      </pc:sldChg>
      <pc:sldChg chg="modNotesTx">
        <pc:chgData name="Kondo, Masaki" userId="2b6f3f0d-b94f-4594-a7aa-f151f0bab74b" providerId="ADAL" clId="{1889789F-556E-4527-BDC2-CFF771C1637B}" dt="2023-04-28T05:19:09.722" v="9" actId="6549"/>
        <pc:sldMkLst>
          <pc:docMk/>
          <pc:sldMk cId="973862821" sldId="3081"/>
        </pc:sldMkLst>
      </pc:sldChg>
      <pc:sldChg chg="modNotesTx">
        <pc:chgData name="Kondo, Masaki" userId="2b6f3f0d-b94f-4594-a7aa-f151f0bab74b" providerId="ADAL" clId="{1889789F-556E-4527-BDC2-CFF771C1637B}" dt="2023-04-28T05:19:20.921" v="10" actId="6549"/>
        <pc:sldMkLst>
          <pc:docMk/>
          <pc:sldMk cId="3300086758" sldId="2147308543"/>
        </pc:sldMkLst>
      </pc:sldChg>
      <pc:sldChg chg="modNotesTx">
        <pc:chgData name="Kondo, Masaki" userId="2b6f3f0d-b94f-4594-a7aa-f151f0bab74b" providerId="ADAL" clId="{1889789F-556E-4527-BDC2-CFF771C1637B}" dt="2023-04-28T05:17:35.951" v="0" actId="6549"/>
        <pc:sldMkLst>
          <pc:docMk/>
          <pc:sldMk cId="2905309745" sldId="2147470139"/>
        </pc:sldMkLst>
      </pc:sldChg>
      <pc:sldChg chg="modNotesTx">
        <pc:chgData name="Kondo, Masaki" userId="2b6f3f0d-b94f-4594-a7aa-f151f0bab74b" providerId="ADAL" clId="{1889789F-556E-4527-BDC2-CFF771C1637B}" dt="2023-04-28T05:18:09.218" v="3" actId="6549"/>
        <pc:sldMkLst>
          <pc:docMk/>
          <pc:sldMk cId="1706762920" sldId="2147470160"/>
        </pc:sldMkLst>
      </pc:sldChg>
      <pc:sldChg chg="modNotesTx">
        <pc:chgData name="Kondo, Masaki" userId="2b6f3f0d-b94f-4594-a7aa-f151f0bab74b" providerId="ADAL" clId="{1889789F-556E-4527-BDC2-CFF771C1637B}" dt="2023-04-28T05:17:48.581" v="1" actId="6549"/>
        <pc:sldMkLst>
          <pc:docMk/>
          <pc:sldMk cId="1213543955" sldId="2147470722"/>
        </pc:sldMkLst>
      </pc:sldChg>
      <pc:sldChg chg="modNotesTx">
        <pc:chgData name="Kondo, Masaki" userId="2b6f3f0d-b94f-4594-a7aa-f151f0bab74b" providerId="ADAL" clId="{1889789F-556E-4527-BDC2-CFF771C1637B}" dt="2023-04-28T05:18:36.008" v="6" actId="6549"/>
        <pc:sldMkLst>
          <pc:docMk/>
          <pc:sldMk cId="4261094296" sldId="2147470724"/>
        </pc:sldMkLst>
      </pc:sldChg>
      <pc:sldChg chg="modNotesTx">
        <pc:chgData name="Kondo, Masaki" userId="2b6f3f0d-b94f-4594-a7aa-f151f0bab74b" providerId="ADAL" clId="{1889789F-556E-4527-BDC2-CFF771C1637B}" dt="2023-04-28T05:18:21.469" v="4" actId="6549"/>
        <pc:sldMkLst>
          <pc:docMk/>
          <pc:sldMk cId="4229189743" sldId="2147471200"/>
        </pc:sldMkLst>
      </pc:sldChg>
      <pc:sldChg chg="modNotesTx">
        <pc:chgData name="Kondo, Masaki" userId="2b6f3f0d-b94f-4594-a7aa-f151f0bab74b" providerId="ADAL" clId="{1889789F-556E-4527-BDC2-CFF771C1637B}" dt="2023-04-28T05:18:47.602" v="7" actId="6549"/>
        <pc:sldMkLst>
          <pc:docMk/>
          <pc:sldMk cId="2132471254" sldId="2147471209"/>
        </pc:sldMkLst>
      </pc:sldChg>
    </pc:docChg>
  </pc:docChgLst>
  <pc:docChgLst>
    <pc:chgData name="Kondo, Masaki" userId="2b6f3f0d-b94f-4594-a7aa-f151f0bab74b" providerId="ADAL" clId="{47C1EE2D-BA6A-4610-B13C-653A301B9C44}"/>
    <pc:docChg chg="custSel addSld delSld modSld modMainMaster">
      <pc:chgData name="Kondo, Masaki" userId="2b6f3f0d-b94f-4594-a7aa-f151f0bab74b" providerId="ADAL" clId="{47C1EE2D-BA6A-4610-B13C-653A301B9C44}" dt="2023-04-20T07:07:12.416" v="400" actId="1076"/>
      <pc:docMkLst>
        <pc:docMk/>
      </pc:docMkLst>
      <pc:sldChg chg="add del">
        <pc:chgData name="Kondo, Masaki" userId="2b6f3f0d-b94f-4594-a7aa-f151f0bab74b" providerId="ADAL" clId="{47C1EE2D-BA6A-4610-B13C-653A301B9C44}" dt="2023-04-20T06:40:05.689" v="290" actId="47"/>
        <pc:sldMkLst>
          <pc:docMk/>
          <pc:sldMk cId="2077388938" sldId="263"/>
        </pc:sldMkLst>
      </pc:sldChg>
      <pc:sldChg chg="modSp add mod">
        <pc:chgData name="Kondo, Masaki" userId="2b6f3f0d-b94f-4594-a7aa-f151f0bab74b" providerId="ADAL" clId="{47C1EE2D-BA6A-4610-B13C-653A301B9C44}" dt="2023-04-20T07:00:44.172" v="337" actId="1076"/>
        <pc:sldMkLst>
          <pc:docMk/>
          <pc:sldMk cId="4172144928" sldId="293"/>
        </pc:sldMkLst>
        <pc:spChg chg="mod">
          <ac:chgData name="Kondo, Masaki" userId="2b6f3f0d-b94f-4594-a7aa-f151f0bab74b" providerId="ADAL" clId="{47C1EE2D-BA6A-4610-B13C-653A301B9C44}" dt="2023-04-20T07:00:44.172" v="337" actId="1076"/>
          <ac:spMkLst>
            <pc:docMk/>
            <pc:sldMk cId="4172144928" sldId="293"/>
            <ac:spMk id="11" creationId="{94C8D2DA-11A6-42A9-8B41-7B4B4D5A4993}"/>
          </ac:spMkLst>
        </pc:spChg>
        <pc:spChg chg="mod">
          <ac:chgData name="Kondo, Masaki" userId="2b6f3f0d-b94f-4594-a7aa-f151f0bab74b" providerId="ADAL" clId="{47C1EE2D-BA6A-4610-B13C-653A301B9C44}" dt="2023-04-20T06:59:58.792" v="332" actId="403"/>
          <ac:spMkLst>
            <pc:docMk/>
            <pc:sldMk cId="4172144928" sldId="293"/>
            <ac:spMk id="17" creationId="{15A0FA35-3619-4D33-8C59-E74074C0A6B4}"/>
          </ac:spMkLst>
        </pc:spChg>
        <pc:spChg chg="mod">
          <ac:chgData name="Kondo, Masaki" userId="2b6f3f0d-b94f-4594-a7aa-f151f0bab74b" providerId="ADAL" clId="{47C1EE2D-BA6A-4610-B13C-653A301B9C44}" dt="2023-04-20T07:00:11.438" v="336" actId="403"/>
          <ac:spMkLst>
            <pc:docMk/>
            <pc:sldMk cId="4172144928" sldId="293"/>
            <ac:spMk id="18" creationId="{ED014697-D17C-474F-BD73-7D16E236ADE7}"/>
          </ac:spMkLst>
        </pc:spChg>
      </pc:sldChg>
      <pc:sldChg chg="del">
        <pc:chgData name="Kondo, Masaki" userId="2b6f3f0d-b94f-4594-a7aa-f151f0bab74b" providerId="ADAL" clId="{47C1EE2D-BA6A-4610-B13C-653A301B9C44}" dt="2023-04-16T07:43:41.782" v="281" actId="47"/>
        <pc:sldMkLst>
          <pc:docMk/>
          <pc:sldMk cId="4112178054" sldId="397"/>
        </pc:sldMkLst>
      </pc:sldChg>
      <pc:sldChg chg="del">
        <pc:chgData name="Kondo, Masaki" userId="2b6f3f0d-b94f-4594-a7aa-f151f0bab74b" providerId="ADAL" clId="{47C1EE2D-BA6A-4610-B13C-653A301B9C44}" dt="2023-04-16T07:43:41.782" v="281" actId="47"/>
        <pc:sldMkLst>
          <pc:docMk/>
          <pc:sldMk cId="3143974068" sldId="402"/>
        </pc:sldMkLst>
      </pc:sldChg>
      <pc:sldChg chg="del">
        <pc:chgData name="Kondo, Masaki" userId="2b6f3f0d-b94f-4594-a7aa-f151f0bab74b" providerId="ADAL" clId="{47C1EE2D-BA6A-4610-B13C-653A301B9C44}" dt="2023-04-16T07:43:41.782" v="281" actId="47"/>
        <pc:sldMkLst>
          <pc:docMk/>
          <pc:sldMk cId="470273167" sldId="408"/>
        </pc:sldMkLst>
      </pc:sldChg>
      <pc:sldChg chg="add del">
        <pc:chgData name="Kondo, Masaki" userId="2b6f3f0d-b94f-4594-a7aa-f151f0bab74b" providerId="ADAL" clId="{47C1EE2D-BA6A-4610-B13C-653A301B9C44}" dt="2023-04-17T06:46:19.412" v="284" actId="47"/>
        <pc:sldMkLst>
          <pc:docMk/>
          <pc:sldMk cId="2952019907" sldId="520"/>
        </pc:sldMkLst>
      </pc:sldChg>
      <pc:sldChg chg="delSp modSp add mod">
        <pc:chgData name="Kondo, Masaki" userId="2b6f3f0d-b94f-4594-a7aa-f151f0bab74b" providerId="ADAL" clId="{47C1EE2D-BA6A-4610-B13C-653A301B9C44}" dt="2023-04-20T06:50:43.578" v="310" actId="1035"/>
        <pc:sldMkLst>
          <pc:docMk/>
          <pc:sldMk cId="914673122" sldId="3072"/>
        </pc:sldMkLst>
        <pc:spChg chg="mod topLvl">
          <ac:chgData name="Kondo, Masaki" userId="2b6f3f0d-b94f-4594-a7aa-f151f0bab74b" providerId="ADAL" clId="{47C1EE2D-BA6A-4610-B13C-653A301B9C44}" dt="2023-04-20T06:50:43.578" v="310" actId="1035"/>
          <ac:spMkLst>
            <pc:docMk/>
            <pc:sldMk cId="914673122" sldId="3072"/>
            <ac:spMk id="5" creationId="{A1A5087F-D486-468E-B912-C11ABEBA356B}"/>
          </ac:spMkLst>
        </pc:spChg>
        <pc:spChg chg="mod topLvl">
          <ac:chgData name="Kondo, Masaki" userId="2b6f3f0d-b94f-4594-a7aa-f151f0bab74b" providerId="ADAL" clId="{47C1EE2D-BA6A-4610-B13C-653A301B9C44}" dt="2023-04-20T06:46:33.790" v="304" actId="165"/>
          <ac:spMkLst>
            <pc:docMk/>
            <pc:sldMk cId="914673122" sldId="3072"/>
            <ac:spMk id="125" creationId="{87BB48C8-255C-4EF5-8751-1975B8566654}"/>
          </ac:spMkLst>
        </pc:spChg>
        <pc:spChg chg="mod topLvl">
          <ac:chgData name="Kondo, Masaki" userId="2b6f3f0d-b94f-4594-a7aa-f151f0bab74b" providerId="ADAL" clId="{47C1EE2D-BA6A-4610-B13C-653A301B9C44}" dt="2023-04-20T06:46:33.790" v="304" actId="165"/>
          <ac:spMkLst>
            <pc:docMk/>
            <pc:sldMk cId="914673122" sldId="3072"/>
            <ac:spMk id="128" creationId="{FE7675F9-1B56-4045-8D5A-6E22B83CB6FF}"/>
          </ac:spMkLst>
        </pc:spChg>
        <pc:spChg chg="mod topLvl">
          <ac:chgData name="Kondo, Masaki" userId="2b6f3f0d-b94f-4594-a7aa-f151f0bab74b" providerId="ADAL" clId="{47C1EE2D-BA6A-4610-B13C-653A301B9C44}" dt="2023-04-20T06:46:33.790" v="304" actId="165"/>
          <ac:spMkLst>
            <pc:docMk/>
            <pc:sldMk cId="914673122" sldId="3072"/>
            <ac:spMk id="129" creationId="{A83B0743-CFC6-493C-9750-EC887833F8D9}"/>
          </ac:spMkLst>
        </pc:spChg>
        <pc:spChg chg="mod topLvl">
          <ac:chgData name="Kondo, Masaki" userId="2b6f3f0d-b94f-4594-a7aa-f151f0bab74b" providerId="ADAL" clId="{47C1EE2D-BA6A-4610-B13C-653A301B9C44}" dt="2023-04-20T06:46:33.790" v="304" actId="165"/>
          <ac:spMkLst>
            <pc:docMk/>
            <pc:sldMk cId="914673122" sldId="3072"/>
            <ac:spMk id="130" creationId="{0ACC0F08-2296-4694-8A8D-1CA6E0B0136B}"/>
          </ac:spMkLst>
        </pc:spChg>
        <pc:spChg chg="mod topLvl">
          <ac:chgData name="Kondo, Masaki" userId="2b6f3f0d-b94f-4594-a7aa-f151f0bab74b" providerId="ADAL" clId="{47C1EE2D-BA6A-4610-B13C-653A301B9C44}" dt="2023-04-20T06:46:33.790" v="304" actId="165"/>
          <ac:spMkLst>
            <pc:docMk/>
            <pc:sldMk cId="914673122" sldId="3072"/>
            <ac:spMk id="131" creationId="{37E0D544-C156-4FD3-A371-4B3898040820}"/>
          </ac:spMkLst>
        </pc:spChg>
        <pc:grpChg chg="del">
          <ac:chgData name="Kondo, Masaki" userId="2b6f3f0d-b94f-4594-a7aa-f151f0bab74b" providerId="ADAL" clId="{47C1EE2D-BA6A-4610-B13C-653A301B9C44}" dt="2023-04-20T06:46:33.790" v="304" actId="165"/>
          <ac:grpSpMkLst>
            <pc:docMk/>
            <pc:sldMk cId="914673122" sldId="3072"/>
            <ac:grpSpMk id="6" creationId="{E8DEEC17-39D9-4D70-8090-9F004EBC31D7}"/>
          </ac:grpSpMkLst>
        </pc:grpChg>
        <pc:grpChg chg="mod topLvl">
          <ac:chgData name="Kondo, Masaki" userId="2b6f3f0d-b94f-4594-a7aa-f151f0bab74b" providerId="ADAL" clId="{47C1EE2D-BA6A-4610-B13C-653A301B9C44}" dt="2023-04-20T06:46:33.790" v="304" actId="165"/>
          <ac:grpSpMkLst>
            <pc:docMk/>
            <pc:sldMk cId="914673122" sldId="3072"/>
            <ac:grpSpMk id="133" creationId="{CAC0849B-51D8-4417-83DA-96728A8C9FF2}"/>
          </ac:grpSpMkLst>
        </pc:grpChg>
        <pc:picChg chg="mod">
          <ac:chgData name="Kondo, Masaki" userId="2b6f3f0d-b94f-4594-a7aa-f151f0bab74b" providerId="ADAL" clId="{47C1EE2D-BA6A-4610-B13C-653A301B9C44}" dt="2023-04-20T06:46:33.790" v="304" actId="165"/>
          <ac:picMkLst>
            <pc:docMk/>
            <pc:sldMk cId="914673122" sldId="3072"/>
            <ac:picMk id="134" creationId="{515375B8-CE8C-4317-A5AE-F88D60EA3391}"/>
          </ac:picMkLst>
        </pc:picChg>
        <pc:picChg chg="mod">
          <ac:chgData name="Kondo, Masaki" userId="2b6f3f0d-b94f-4594-a7aa-f151f0bab74b" providerId="ADAL" clId="{47C1EE2D-BA6A-4610-B13C-653A301B9C44}" dt="2023-04-20T06:46:33.790" v="304" actId="165"/>
          <ac:picMkLst>
            <pc:docMk/>
            <pc:sldMk cId="914673122" sldId="3072"/>
            <ac:picMk id="135" creationId="{36AA5E05-D1CF-493B-B800-3B01F19BFD38}"/>
          </ac:picMkLst>
        </pc:picChg>
        <pc:picChg chg="mod topLvl">
          <ac:chgData name="Kondo, Masaki" userId="2b6f3f0d-b94f-4594-a7aa-f151f0bab74b" providerId="ADAL" clId="{47C1EE2D-BA6A-4610-B13C-653A301B9C44}" dt="2023-04-20T06:49:47.753" v="308"/>
          <ac:picMkLst>
            <pc:docMk/>
            <pc:sldMk cId="914673122" sldId="3072"/>
            <ac:picMk id="136" creationId="{0BEE34C6-8C5D-496B-BAD3-D9A0F47E509A}"/>
          </ac:picMkLst>
        </pc:picChg>
        <pc:picChg chg="mod topLvl">
          <ac:chgData name="Kondo, Masaki" userId="2b6f3f0d-b94f-4594-a7aa-f151f0bab74b" providerId="ADAL" clId="{47C1EE2D-BA6A-4610-B13C-653A301B9C44}" dt="2023-04-20T06:50:25.896" v="309"/>
          <ac:picMkLst>
            <pc:docMk/>
            <pc:sldMk cId="914673122" sldId="3072"/>
            <ac:picMk id="137" creationId="{BDAB620A-7C78-4BAF-9079-8FCD96B63A46}"/>
          </ac:picMkLst>
        </pc:picChg>
        <pc:picChg chg="mod topLvl">
          <ac:chgData name="Kondo, Masaki" userId="2b6f3f0d-b94f-4594-a7aa-f151f0bab74b" providerId="ADAL" clId="{47C1EE2D-BA6A-4610-B13C-653A301B9C44}" dt="2023-04-20T06:49:47.753" v="308"/>
          <ac:picMkLst>
            <pc:docMk/>
            <pc:sldMk cId="914673122" sldId="3072"/>
            <ac:picMk id="141" creationId="{0D8E3B93-8166-4955-A722-F0631DB9D123}"/>
          </ac:picMkLst>
        </pc:picChg>
        <pc:picChg chg="mod topLvl">
          <ac:chgData name="Kondo, Masaki" userId="2b6f3f0d-b94f-4594-a7aa-f151f0bab74b" providerId="ADAL" clId="{47C1EE2D-BA6A-4610-B13C-653A301B9C44}" dt="2023-04-20T06:49:47.753" v="308"/>
          <ac:picMkLst>
            <pc:docMk/>
            <pc:sldMk cId="914673122" sldId="3072"/>
            <ac:picMk id="142" creationId="{0DAF4941-6591-411B-B814-AD2A1824A739}"/>
          </ac:picMkLst>
        </pc:picChg>
        <pc:picChg chg="mod topLvl">
          <ac:chgData name="Kondo, Masaki" userId="2b6f3f0d-b94f-4594-a7aa-f151f0bab74b" providerId="ADAL" clId="{47C1EE2D-BA6A-4610-B13C-653A301B9C44}" dt="2023-04-20T06:46:33.790" v="304" actId="165"/>
          <ac:picMkLst>
            <pc:docMk/>
            <pc:sldMk cId="914673122" sldId="3072"/>
            <ac:picMk id="143" creationId="{CAC53459-12E7-41EC-82BE-17B22D55D6DA}"/>
          </ac:picMkLst>
        </pc:picChg>
        <pc:picChg chg="mod topLvl">
          <ac:chgData name="Kondo, Masaki" userId="2b6f3f0d-b94f-4594-a7aa-f151f0bab74b" providerId="ADAL" clId="{47C1EE2D-BA6A-4610-B13C-653A301B9C44}" dt="2023-04-20T06:48:57.467" v="305"/>
          <ac:picMkLst>
            <pc:docMk/>
            <pc:sldMk cId="914673122" sldId="3072"/>
            <ac:picMk id="144" creationId="{032426C9-B118-48E9-81F5-77466B76C022}"/>
          </ac:picMkLst>
        </pc:picChg>
        <pc:picChg chg="mod topLvl">
          <ac:chgData name="Kondo, Masaki" userId="2b6f3f0d-b94f-4594-a7aa-f151f0bab74b" providerId="ADAL" clId="{47C1EE2D-BA6A-4610-B13C-653A301B9C44}" dt="2023-04-20T06:50:25.896" v="309"/>
          <ac:picMkLst>
            <pc:docMk/>
            <pc:sldMk cId="914673122" sldId="3072"/>
            <ac:picMk id="147" creationId="{7F8816AC-4BD3-4E69-ADA5-68AD8AA192AD}"/>
          </ac:picMkLst>
        </pc:picChg>
        <pc:picChg chg="mod topLvl">
          <ac:chgData name="Kondo, Masaki" userId="2b6f3f0d-b94f-4594-a7aa-f151f0bab74b" providerId="ADAL" clId="{47C1EE2D-BA6A-4610-B13C-653A301B9C44}" dt="2023-04-20T06:49:47.753" v="308"/>
          <ac:picMkLst>
            <pc:docMk/>
            <pc:sldMk cId="914673122" sldId="3072"/>
            <ac:picMk id="149" creationId="{A14DA97B-1E4B-4FE2-ADAF-B5720E6D3080}"/>
          </ac:picMkLst>
        </pc:picChg>
        <pc:picChg chg="mod topLvl">
          <ac:chgData name="Kondo, Masaki" userId="2b6f3f0d-b94f-4594-a7aa-f151f0bab74b" providerId="ADAL" clId="{47C1EE2D-BA6A-4610-B13C-653A301B9C44}" dt="2023-04-20T06:49:47.753" v="308"/>
          <ac:picMkLst>
            <pc:docMk/>
            <pc:sldMk cId="914673122" sldId="3072"/>
            <ac:picMk id="150" creationId="{D1FA31DC-3D33-48AF-BA75-4CF9ADD6B494}"/>
          </ac:picMkLst>
        </pc:picChg>
        <pc:cxnChg chg="mod topLvl">
          <ac:chgData name="Kondo, Masaki" userId="2b6f3f0d-b94f-4594-a7aa-f151f0bab74b" providerId="ADAL" clId="{47C1EE2D-BA6A-4610-B13C-653A301B9C44}" dt="2023-04-20T06:46:33.790" v="304" actId="165"/>
          <ac:cxnSpMkLst>
            <pc:docMk/>
            <pc:sldMk cId="914673122" sldId="3072"/>
            <ac:cxnSpMk id="123" creationId="{64797B4D-5ECB-4056-8A6E-08B13AB64EE8}"/>
          </ac:cxnSpMkLst>
        </pc:cxnChg>
        <pc:cxnChg chg="mod topLvl">
          <ac:chgData name="Kondo, Masaki" userId="2b6f3f0d-b94f-4594-a7aa-f151f0bab74b" providerId="ADAL" clId="{47C1EE2D-BA6A-4610-B13C-653A301B9C44}" dt="2023-04-20T06:46:33.790" v="304" actId="165"/>
          <ac:cxnSpMkLst>
            <pc:docMk/>
            <pc:sldMk cId="914673122" sldId="3072"/>
            <ac:cxnSpMk id="127" creationId="{D1739F5B-F0A6-41EE-AB6E-EFD790E2D65C}"/>
          </ac:cxnSpMkLst>
        </pc:cxnChg>
        <pc:cxnChg chg="mod topLvl">
          <ac:chgData name="Kondo, Masaki" userId="2b6f3f0d-b94f-4594-a7aa-f151f0bab74b" providerId="ADAL" clId="{47C1EE2D-BA6A-4610-B13C-653A301B9C44}" dt="2023-04-20T06:46:33.790" v="304" actId="165"/>
          <ac:cxnSpMkLst>
            <pc:docMk/>
            <pc:sldMk cId="914673122" sldId="3072"/>
            <ac:cxnSpMk id="145" creationId="{2B236822-AECB-46FB-838C-563E2596FF10}"/>
          </ac:cxnSpMkLst>
        </pc:cxnChg>
        <pc:cxnChg chg="mod topLvl">
          <ac:chgData name="Kondo, Masaki" userId="2b6f3f0d-b94f-4594-a7aa-f151f0bab74b" providerId="ADAL" clId="{47C1EE2D-BA6A-4610-B13C-653A301B9C44}" dt="2023-04-20T06:46:33.790" v="304" actId="165"/>
          <ac:cxnSpMkLst>
            <pc:docMk/>
            <pc:sldMk cId="914673122" sldId="3072"/>
            <ac:cxnSpMk id="146" creationId="{4D025E1D-FA78-4D4B-A0FC-13F2B3F71C28}"/>
          </ac:cxnSpMkLst>
        </pc:cxnChg>
      </pc:sldChg>
      <pc:sldChg chg="modSp add">
        <pc:chgData name="Kondo, Masaki" userId="2b6f3f0d-b94f-4594-a7aa-f151f0bab74b" providerId="ADAL" clId="{47C1EE2D-BA6A-4610-B13C-653A301B9C44}" dt="2023-04-20T06:51:44.174" v="311"/>
        <pc:sldMkLst>
          <pc:docMk/>
          <pc:sldMk cId="973862821" sldId="3081"/>
        </pc:sldMkLst>
        <pc:picChg chg="mod">
          <ac:chgData name="Kondo, Masaki" userId="2b6f3f0d-b94f-4594-a7aa-f151f0bab74b" providerId="ADAL" clId="{47C1EE2D-BA6A-4610-B13C-653A301B9C44}" dt="2023-04-20T06:51:44.174" v="311"/>
          <ac:picMkLst>
            <pc:docMk/>
            <pc:sldMk cId="973862821" sldId="3081"/>
            <ac:picMk id="62" creationId="{11FB9894-B54A-4D9A-A7FB-E585BD1BDEEE}"/>
          </ac:picMkLst>
        </pc:picChg>
      </pc:sldChg>
      <pc:sldChg chg="modSp mod">
        <pc:chgData name="Kondo, Masaki" userId="2b6f3f0d-b94f-4594-a7aa-f151f0bab74b" providerId="ADAL" clId="{47C1EE2D-BA6A-4610-B13C-653A301B9C44}" dt="2023-04-16T06:01:24.137" v="180" actId="6549"/>
        <pc:sldMkLst>
          <pc:docMk/>
          <pc:sldMk cId="3336269834" sldId="3809"/>
        </pc:sldMkLst>
        <pc:spChg chg="mod">
          <ac:chgData name="Kondo, Masaki" userId="2b6f3f0d-b94f-4594-a7aa-f151f0bab74b" providerId="ADAL" clId="{47C1EE2D-BA6A-4610-B13C-653A301B9C44}" dt="2023-04-16T05:59:31.032" v="81" actId="14100"/>
          <ac:spMkLst>
            <pc:docMk/>
            <pc:sldMk cId="3336269834" sldId="3809"/>
            <ac:spMk id="2" creationId="{1386C098-6572-47DB-9D04-39A6B3D29876}"/>
          </ac:spMkLst>
        </pc:spChg>
        <pc:spChg chg="mod">
          <ac:chgData name="Kondo, Masaki" userId="2b6f3f0d-b94f-4594-a7aa-f151f0bab74b" providerId="ADAL" clId="{47C1EE2D-BA6A-4610-B13C-653A301B9C44}" dt="2023-04-16T06:01:24.137" v="180" actId="6549"/>
          <ac:spMkLst>
            <pc:docMk/>
            <pc:sldMk cId="3336269834" sldId="3809"/>
            <ac:spMk id="3" creationId="{E3C2E543-586C-46C3-A488-577C8B9C6DF3}"/>
          </ac:spMkLst>
        </pc:spChg>
      </pc:sldChg>
      <pc:sldChg chg="delSp modSp add mod">
        <pc:chgData name="Kondo, Masaki" userId="2b6f3f0d-b94f-4594-a7aa-f151f0bab74b" providerId="ADAL" clId="{47C1EE2D-BA6A-4610-B13C-653A301B9C44}" dt="2023-04-20T06:38:42.050" v="289" actId="207"/>
        <pc:sldMkLst>
          <pc:docMk/>
          <pc:sldMk cId="1174649853" sldId="4589"/>
        </pc:sldMkLst>
        <pc:spChg chg="mod">
          <ac:chgData name="Kondo, Masaki" userId="2b6f3f0d-b94f-4594-a7aa-f151f0bab74b" providerId="ADAL" clId="{47C1EE2D-BA6A-4610-B13C-653A301B9C44}" dt="2023-04-20T06:38:42.050" v="289" actId="207"/>
          <ac:spMkLst>
            <pc:docMk/>
            <pc:sldMk cId="1174649853" sldId="4589"/>
            <ac:spMk id="24" creationId="{1357A8CE-F17E-0945-96A3-F1A49F23E2ED}"/>
          </ac:spMkLst>
        </pc:spChg>
        <pc:picChg chg="del">
          <ac:chgData name="Kondo, Masaki" userId="2b6f3f0d-b94f-4594-a7aa-f151f0bab74b" providerId="ADAL" clId="{47C1EE2D-BA6A-4610-B13C-653A301B9C44}" dt="2023-04-16T08:17:20.377" v="282" actId="478"/>
          <ac:picMkLst>
            <pc:docMk/>
            <pc:sldMk cId="1174649853" sldId="4589"/>
            <ac:picMk id="47" creationId="{50963B05-AA8B-47EF-B2ED-AC83C8286540}"/>
          </ac:picMkLst>
        </pc:picChg>
      </pc:sldChg>
      <pc:sldChg chg="add">
        <pc:chgData name="Kondo, Masaki" userId="2b6f3f0d-b94f-4594-a7aa-f151f0bab74b" providerId="ADAL" clId="{47C1EE2D-BA6A-4610-B13C-653A301B9C44}" dt="2023-04-16T07:40:09.718" v="277"/>
        <pc:sldMkLst>
          <pc:docMk/>
          <pc:sldMk cId="2885008464" sldId="1000383"/>
        </pc:sldMkLst>
      </pc:sldChg>
      <pc:sldChg chg="add">
        <pc:chgData name="Kondo, Masaki" userId="2b6f3f0d-b94f-4594-a7aa-f151f0bab74b" providerId="ADAL" clId="{47C1EE2D-BA6A-4610-B13C-653A301B9C44}" dt="2023-04-16T07:31:29.969" v="249"/>
        <pc:sldMkLst>
          <pc:docMk/>
          <pc:sldMk cId="3993901158" sldId="2147307243"/>
        </pc:sldMkLst>
      </pc:sldChg>
      <pc:sldChg chg="add">
        <pc:chgData name="Kondo, Masaki" userId="2b6f3f0d-b94f-4594-a7aa-f151f0bab74b" providerId="ADAL" clId="{47C1EE2D-BA6A-4610-B13C-653A301B9C44}" dt="2023-04-16T07:31:29.969" v="249"/>
        <pc:sldMkLst>
          <pc:docMk/>
          <pc:sldMk cId="4021586317" sldId="2147307244"/>
        </pc:sldMkLst>
      </pc:sldChg>
      <pc:sldChg chg="delSp modSp add mod">
        <pc:chgData name="Kondo, Masaki" userId="2b6f3f0d-b94f-4594-a7aa-f151f0bab74b" providerId="ADAL" clId="{47C1EE2D-BA6A-4610-B13C-653A301B9C44}" dt="2023-04-20T07:07:12.416" v="400" actId="1076"/>
        <pc:sldMkLst>
          <pc:docMk/>
          <pc:sldMk cId="99663842" sldId="2147307578"/>
        </pc:sldMkLst>
        <pc:spChg chg="mod topLvl">
          <ac:chgData name="Kondo, Masaki" userId="2b6f3f0d-b94f-4594-a7aa-f151f0bab74b" providerId="ADAL" clId="{47C1EE2D-BA6A-4610-B13C-653A301B9C44}" dt="2023-04-20T07:07:06.574" v="399" actId="1076"/>
          <ac:spMkLst>
            <pc:docMk/>
            <pc:sldMk cId="99663842" sldId="2147307578"/>
            <ac:spMk id="43" creationId="{655F93B3-179D-4F68-8C79-9A930D5E54F7}"/>
          </ac:spMkLst>
        </pc:spChg>
        <pc:spChg chg="mod topLvl">
          <ac:chgData name="Kondo, Masaki" userId="2b6f3f0d-b94f-4594-a7aa-f151f0bab74b" providerId="ADAL" clId="{47C1EE2D-BA6A-4610-B13C-653A301B9C44}" dt="2023-04-20T07:07:12.416" v="400" actId="1076"/>
          <ac:spMkLst>
            <pc:docMk/>
            <pc:sldMk cId="99663842" sldId="2147307578"/>
            <ac:spMk id="44" creationId="{C03E191D-D393-4A6F-A252-8632A067D4E7}"/>
          </ac:spMkLst>
        </pc:spChg>
        <pc:spChg chg="mod topLvl">
          <ac:chgData name="Kondo, Masaki" userId="2b6f3f0d-b94f-4594-a7aa-f151f0bab74b" providerId="ADAL" clId="{47C1EE2D-BA6A-4610-B13C-653A301B9C44}" dt="2023-04-20T07:06:31.883" v="396" actId="165"/>
          <ac:spMkLst>
            <pc:docMk/>
            <pc:sldMk cId="99663842" sldId="2147307578"/>
            <ac:spMk id="45" creationId="{8AEFDECF-06EF-4746-BBA6-3E9670D4114D}"/>
          </ac:spMkLst>
        </pc:spChg>
        <pc:grpChg chg="del">
          <ac:chgData name="Kondo, Masaki" userId="2b6f3f0d-b94f-4594-a7aa-f151f0bab74b" providerId="ADAL" clId="{47C1EE2D-BA6A-4610-B13C-653A301B9C44}" dt="2023-04-20T07:06:31.883" v="396" actId="165"/>
          <ac:grpSpMkLst>
            <pc:docMk/>
            <pc:sldMk cId="99663842" sldId="2147307578"/>
            <ac:grpSpMk id="39" creationId="{4A6F1C66-778B-401A-A303-8BDE49E24E07}"/>
          </ac:grpSpMkLst>
        </pc:grpChg>
        <pc:grpChg chg="mod topLvl">
          <ac:chgData name="Kondo, Masaki" userId="2b6f3f0d-b94f-4594-a7aa-f151f0bab74b" providerId="ADAL" clId="{47C1EE2D-BA6A-4610-B13C-653A301B9C44}" dt="2023-04-20T07:06:31.883" v="396" actId="165"/>
          <ac:grpSpMkLst>
            <pc:docMk/>
            <pc:sldMk cId="99663842" sldId="2147307578"/>
            <ac:grpSpMk id="40" creationId="{0E318D18-548B-4B12-96D4-14845FAD1616}"/>
          </ac:grpSpMkLst>
        </pc:grpChg>
        <pc:grpChg chg="mod topLvl">
          <ac:chgData name="Kondo, Masaki" userId="2b6f3f0d-b94f-4594-a7aa-f151f0bab74b" providerId="ADAL" clId="{47C1EE2D-BA6A-4610-B13C-653A301B9C44}" dt="2023-04-20T07:06:31.883" v="396" actId="165"/>
          <ac:grpSpMkLst>
            <pc:docMk/>
            <pc:sldMk cId="99663842" sldId="2147307578"/>
            <ac:grpSpMk id="41" creationId="{7F13ECCE-959E-4BF7-8DE5-B2C00B52E1A8}"/>
          </ac:grpSpMkLst>
        </pc:grpChg>
        <pc:picChg chg="mod topLvl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42" creationId="{DC39FD4C-B0EB-4D85-98E5-259B3C553FAE}"/>
          </ac:picMkLst>
        </pc:picChg>
        <pc:picChg chg="mod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48" creationId="{75F8F0A7-CC96-495D-BBB0-6E98B1319BE6}"/>
          </ac:picMkLst>
        </pc:picChg>
        <pc:picChg chg="mod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49" creationId="{07F192D4-0F76-465E-9D99-9EA02138CB2A}"/>
          </ac:picMkLst>
        </pc:picChg>
        <pc:picChg chg="mod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51" creationId="{B95F2583-E803-4947-86E7-2999B649D13A}"/>
          </ac:picMkLst>
        </pc:picChg>
        <pc:picChg chg="mod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52" creationId="{E2A92912-0285-4E92-A5E1-D45E00DCD07C}"/>
          </ac:picMkLst>
        </pc:picChg>
        <pc:picChg chg="mod">
          <ac:chgData name="Kondo, Masaki" userId="2b6f3f0d-b94f-4594-a7aa-f151f0bab74b" providerId="ADAL" clId="{47C1EE2D-BA6A-4610-B13C-653A301B9C44}" dt="2023-04-20T07:06:31.883" v="396" actId="165"/>
          <ac:picMkLst>
            <pc:docMk/>
            <pc:sldMk cId="99663842" sldId="2147307578"/>
            <ac:picMk id="53" creationId="{55529B40-0448-47B4-BDAF-BA00C2DC28B4}"/>
          </ac:picMkLst>
        </pc:picChg>
        <pc:cxnChg chg="mod topLvl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47" creationId="{B6F84E5F-0E87-420D-B1B3-33A55A66E005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4" creationId="{F70DED57-973C-41E7-8DD4-5C0F42EAE45F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5" creationId="{092C551A-C735-440A-8FB1-CA02E716F410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6" creationId="{345952EF-CE9E-4A6A-A03C-F87AD5658EE6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7" creationId="{17791FA1-923A-44EA-B671-2F36C92FDE76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8" creationId="{D2156C99-9E82-4525-9143-228EB85E4FED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59" creationId="{034D0552-C011-4955-860A-BBB4CAFE681D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60" creationId="{54B04DA9-16A9-42F0-A3F3-8A8699CBF20F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61" creationId="{AA3CAF7B-9CFF-4FAB-9B40-19D9E6ED5B8C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62" creationId="{3AD7DE2D-4008-4317-91FC-E935533C8801}"/>
          </ac:cxnSpMkLst>
        </pc:cxnChg>
        <pc:cxnChg chg="mod">
          <ac:chgData name="Kondo, Masaki" userId="2b6f3f0d-b94f-4594-a7aa-f151f0bab74b" providerId="ADAL" clId="{47C1EE2D-BA6A-4610-B13C-653A301B9C44}" dt="2023-04-20T07:06:31.883" v="396" actId="165"/>
          <ac:cxnSpMkLst>
            <pc:docMk/>
            <pc:sldMk cId="99663842" sldId="2147307578"/>
            <ac:cxnSpMk id="63" creationId="{B85A8DCC-8DDA-4655-89FB-5FAB7CF70E67}"/>
          </ac:cxnSpMkLst>
        </pc:cxnChg>
      </pc:sldChg>
      <pc:sldChg chg="add">
        <pc:chgData name="Kondo, Masaki" userId="2b6f3f0d-b94f-4594-a7aa-f151f0bab74b" providerId="ADAL" clId="{47C1EE2D-BA6A-4610-B13C-653A301B9C44}" dt="2023-04-16T07:43:28.126" v="280"/>
        <pc:sldMkLst>
          <pc:docMk/>
          <pc:sldMk cId="3049318998" sldId="2147307581"/>
        </pc:sldMkLst>
      </pc:sldChg>
      <pc:sldChg chg="add">
        <pc:chgData name="Kondo, Masaki" userId="2b6f3f0d-b94f-4594-a7aa-f151f0bab74b" providerId="ADAL" clId="{47C1EE2D-BA6A-4610-B13C-653A301B9C44}" dt="2023-04-16T06:07:47.246" v="196"/>
        <pc:sldMkLst>
          <pc:docMk/>
          <pc:sldMk cId="1969860119" sldId="2147308015"/>
        </pc:sldMkLst>
      </pc:sldChg>
      <pc:sldChg chg="modSp add mod">
        <pc:chgData name="Kondo, Masaki" userId="2b6f3f0d-b94f-4594-a7aa-f151f0bab74b" providerId="ADAL" clId="{47C1EE2D-BA6A-4610-B13C-653A301B9C44}" dt="2023-04-20T06:53:44.688" v="319" actId="403"/>
        <pc:sldMkLst>
          <pc:docMk/>
          <pc:sldMk cId="3300086758" sldId="2147308543"/>
        </pc:sldMkLst>
        <pc:spChg chg="mod">
          <ac:chgData name="Kondo, Masaki" userId="2b6f3f0d-b94f-4594-a7aa-f151f0bab74b" providerId="ADAL" clId="{47C1EE2D-BA6A-4610-B13C-653A301B9C44}" dt="2023-04-20T06:53:44.688" v="319" actId="403"/>
          <ac:spMkLst>
            <pc:docMk/>
            <pc:sldMk cId="3300086758" sldId="2147308543"/>
            <ac:spMk id="51" creationId="{8F6068BE-EC5A-5C4F-8602-2BB75639853D}"/>
          </ac:spMkLst>
        </pc:spChg>
      </pc:sldChg>
      <pc:sldChg chg="add">
        <pc:chgData name="Kondo, Masaki" userId="2b6f3f0d-b94f-4594-a7aa-f151f0bab74b" providerId="ADAL" clId="{47C1EE2D-BA6A-4610-B13C-653A301B9C44}" dt="2023-04-16T07:01:24.921" v="201"/>
        <pc:sldMkLst>
          <pc:docMk/>
          <pc:sldMk cId="120557819" sldId="2147309127"/>
        </pc:sldMkLst>
      </pc:sldChg>
      <pc:sldChg chg="add">
        <pc:chgData name="Kondo, Masaki" userId="2b6f3f0d-b94f-4594-a7aa-f151f0bab74b" providerId="ADAL" clId="{47C1EE2D-BA6A-4610-B13C-653A301B9C44}" dt="2023-04-16T07:31:01.769" v="248"/>
        <pc:sldMkLst>
          <pc:docMk/>
          <pc:sldMk cId="1732629615" sldId="2147309191"/>
        </pc:sldMkLst>
      </pc:sldChg>
      <pc:sldChg chg="modSp add mod">
        <pc:chgData name="Kondo, Masaki" userId="2b6f3f0d-b94f-4594-a7aa-f151f0bab74b" providerId="ADAL" clId="{47C1EE2D-BA6A-4610-B13C-653A301B9C44}" dt="2023-04-20T06:53:10.317" v="313" actId="207"/>
        <pc:sldMkLst>
          <pc:docMk/>
          <pc:sldMk cId="2746362905" sldId="2147310004"/>
        </pc:sldMkLst>
        <pc:spChg chg="mod">
          <ac:chgData name="Kondo, Masaki" userId="2b6f3f0d-b94f-4594-a7aa-f151f0bab74b" providerId="ADAL" clId="{47C1EE2D-BA6A-4610-B13C-653A301B9C44}" dt="2023-04-20T06:53:10.317" v="313" actId="207"/>
          <ac:spMkLst>
            <pc:docMk/>
            <pc:sldMk cId="2746362905" sldId="2147310004"/>
            <ac:spMk id="2" creationId="{3AAFA67B-21D8-44D0-BE16-89A060CA64B3}"/>
          </ac:spMkLst>
        </pc:spChg>
        <pc:spChg chg="mod">
          <ac:chgData name="Kondo, Masaki" userId="2b6f3f0d-b94f-4594-a7aa-f151f0bab74b" providerId="ADAL" clId="{47C1EE2D-BA6A-4610-B13C-653A301B9C44}" dt="2023-04-16T07:41:23.786" v="279" actId="27636"/>
          <ac:spMkLst>
            <pc:docMk/>
            <pc:sldMk cId="2746362905" sldId="2147310004"/>
            <ac:spMk id="3" creationId="{72799D31-2D99-4EA8-82AE-BE18C41BB3FD}"/>
          </ac:spMkLst>
        </pc:spChg>
        <pc:spChg chg="mod">
          <ac:chgData name="Kondo, Masaki" userId="2b6f3f0d-b94f-4594-a7aa-f151f0bab74b" providerId="ADAL" clId="{47C1EE2D-BA6A-4610-B13C-653A301B9C44}" dt="2023-04-20T06:52:51.688" v="312" actId="1076"/>
          <ac:spMkLst>
            <pc:docMk/>
            <pc:sldMk cId="2746362905" sldId="2147310004"/>
            <ac:spMk id="39" creationId="{FB3191EA-4834-4B6B-9746-52CF6F6AACB0}"/>
          </ac:spMkLst>
        </pc:spChg>
      </pc:sldChg>
      <pc:sldChg chg="modSp add mod">
        <pc:chgData name="Kondo, Masaki" userId="2b6f3f0d-b94f-4594-a7aa-f151f0bab74b" providerId="ADAL" clId="{47C1EE2D-BA6A-4610-B13C-653A301B9C44}" dt="2023-04-20T07:03:05.729" v="395" actId="403"/>
        <pc:sldMkLst>
          <pc:docMk/>
          <pc:sldMk cId="3384634286" sldId="2147310009"/>
        </pc:sldMkLst>
        <pc:spChg chg="mod">
          <ac:chgData name="Kondo, Masaki" userId="2b6f3f0d-b94f-4594-a7aa-f151f0bab74b" providerId="ADAL" clId="{47C1EE2D-BA6A-4610-B13C-653A301B9C44}" dt="2023-04-20T07:03:05.729" v="395" actId="403"/>
          <ac:spMkLst>
            <pc:docMk/>
            <pc:sldMk cId="3384634286" sldId="2147310009"/>
            <ac:spMk id="3" creationId="{85CBFD79-82AD-4908-8A75-2F42FF0608D8}"/>
          </ac:spMkLst>
        </pc:spChg>
      </pc:sldChg>
      <pc:sldChg chg="add">
        <pc:chgData name="Kondo, Masaki" userId="2b6f3f0d-b94f-4594-a7aa-f151f0bab74b" providerId="ADAL" clId="{47C1EE2D-BA6A-4610-B13C-653A301B9C44}" dt="2023-04-16T07:43:28.126" v="280"/>
        <pc:sldMkLst>
          <pc:docMk/>
          <pc:sldMk cId="346375423" sldId="2147310186"/>
        </pc:sldMkLst>
      </pc:sldChg>
      <pc:sldChg chg="add">
        <pc:chgData name="Kondo, Masaki" userId="2b6f3f0d-b94f-4594-a7aa-f151f0bab74b" providerId="ADAL" clId="{47C1EE2D-BA6A-4610-B13C-653A301B9C44}" dt="2023-04-16T07:43:28.126" v="280"/>
        <pc:sldMkLst>
          <pc:docMk/>
          <pc:sldMk cId="613982461" sldId="2147310191"/>
        </pc:sldMkLst>
      </pc:sldChg>
      <pc:sldChg chg="modSp add mod">
        <pc:chgData name="Kondo, Masaki" userId="2b6f3f0d-b94f-4594-a7aa-f151f0bab74b" providerId="ADAL" clId="{47C1EE2D-BA6A-4610-B13C-653A301B9C44}" dt="2023-04-20T06:56:34.788" v="328" actId="1076"/>
        <pc:sldMkLst>
          <pc:docMk/>
          <pc:sldMk cId="2328732500" sldId="2147374231"/>
        </pc:sldMkLst>
        <pc:spChg chg="mod">
          <ac:chgData name="Kondo, Masaki" userId="2b6f3f0d-b94f-4594-a7aa-f151f0bab74b" providerId="ADAL" clId="{47C1EE2D-BA6A-4610-B13C-653A301B9C44}" dt="2023-04-20T06:56:21.719" v="327" actId="14100"/>
          <ac:spMkLst>
            <pc:docMk/>
            <pc:sldMk cId="2328732500" sldId="2147374231"/>
            <ac:spMk id="53" creationId="{3732F7BD-738D-4DB2-AF4D-76166303994F}"/>
          </ac:spMkLst>
        </pc:spChg>
        <pc:spChg chg="mod">
          <ac:chgData name="Kondo, Masaki" userId="2b6f3f0d-b94f-4594-a7aa-f151f0bab74b" providerId="ADAL" clId="{47C1EE2D-BA6A-4610-B13C-653A301B9C44}" dt="2023-04-20T06:56:34.788" v="328" actId="1076"/>
          <ac:spMkLst>
            <pc:docMk/>
            <pc:sldMk cId="2328732500" sldId="2147374231"/>
            <ac:spMk id="63" creationId="{85B7BA75-4C95-4A1F-B5D3-723D1A971641}"/>
          </ac:spMkLst>
        </pc:spChg>
        <pc:spChg chg="mod">
          <ac:chgData name="Kondo, Masaki" userId="2b6f3f0d-b94f-4594-a7aa-f151f0bab74b" providerId="ADAL" clId="{47C1EE2D-BA6A-4610-B13C-653A301B9C44}" dt="2023-04-20T06:56:34.788" v="328" actId="1076"/>
          <ac:spMkLst>
            <pc:docMk/>
            <pc:sldMk cId="2328732500" sldId="2147374231"/>
            <ac:spMk id="64" creationId="{D71DCE3C-0C7E-44CB-8F88-59E5250A36C0}"/>
          </ac:spMkLst>
        </pc:spChg>
        <pc:picChg chg="mod">
          <ac:chgData name="Kondo, Masaki" userId="2b6f3f0d-b94f-4594-a7aa-f151f0bab74b" providerId="ADAL" clId="{47C1EE2D-BA6A-4610-B13C-653A301B9C44}" dt="2023-04-20T06:56:34.788" v="328" actId="1076"/>
          <ac:picMkLst>
            <pc:docMk/>
            <pc:sldMk cId="2328732500" sldId="2147374231"/>
            <ac:picMk id="61" creationId="{D139D185-5EDF-40DD-B67E-1A3F9F625819}"/>
          </ac:picMkLst>
        </pc:picChg>
        <pc:picChg chg="mod">
          <ac:chgData name="Kondo, Masaki" userId="2b6f3f0d-b94f-4594-a7aa-f151f0bab74b" providerId="ADAL" clId="{47C1EE2D-BA6A-4610-B13C-653A301B9C44}" dt="2023-04-20T06:56:34.788" v="328" actId="1076"/>
          <ac:picMkLst>
            <pc:docMk/>
            <pc:sldMk cId="2328732500" sldId="2147374231"/>
            <ac:picMk id="62" creationId="{1443F13D-CECA-4423-8F67-DB00DD7EB3FB}"/>
          </ac:picMkLst>
        </pc:picChg>
      </pc:sldChg>
      <pc:sldChg chg="add">
        <pc:chgData name="Kondo, Masaki" userId="2b6f3f0d-b94f-4594-a7aa-f151f0bab74b" providerId="ADAL" clId="{47C1EE2D-BA6A-4610-B13C-653A301B9C44}" dt="2023-04-16T07:43:28.126" v="280"/>
        <pc:sldMkLst>
          <pc:docMk/>
          <pc:sldMk cId="3457168546" sldId="2147374234"/>
        </pc:sldMkLst>
      </pc:sldChg>
      <pc:sldChg chg="add">
        <pc:chgData name="Kondo, Masaki" userId="2b6f3f0d-b94f-4594-a7aa-f151f0bab74b" providerId="ADAL" clId="{47C1EE2D-BA6A-4610-B13C-653A301B9C44}" dt="2023-04-16T06:59:43.847" v="200"/>
        <pc:sldMkLst>
          <pc:docMk/>
          <pc:sldMk cId="2099832538" sldId="2147374392"/>
        </pc:sldMkLst>
      </pc:sldChg>
      <pc:sldChg chg="add">
        <pc:chgData name="Kondo, Masaki" userId="2b6f3f0d-b94f-4594-a7aa-f151f0bab74b" providerId="ADAL" clId="{47C1EE2D-BA6A-4610-B13C-653A301B9C44}" dt="2023-04-16T06:59:43.847" v="200"/>
        <pc:sldMkLst>
          <pc:docMk/>
          <pc:sldMk cId="4156326171" sldId="2147374395"/>
        </pc:sldMkLst>
      </pc:sldChg>
      <pc:sldChg chg="add del">
        <pc:chgData name="Kondo, Masaki" userId="2b6f3f0d-b94f-4594-a7aa-f151f0bab74b" providerId="ADAL" clId="{47C1EE2D-BA6A-4610-B13C-653A301B9C44}" dt="2023-04-20T06:40:09.132" v="291" actId="47"/>
        <pc:sldMkLst>
          <pc:docMk/>
          <pc:sldMk cId="4054843343" sldId="2147374398"/>
        </pc:sldMkLst>
      </pc:sldChg>
      <pc:sldChg chg="modSp add mod modAnim">
        <pc:chgData name="Kondo, Masaki" userId="2b6f3f0d-b94f-4594-a7aa-f151f0bab74b" providerId="ADAL" clId="{47C1EE2D-BA6A-4610-B13C-653A301B9C44}" dt="2023-04-20T06:36:56.760" v="286" actId="403"/>
        <pc:sldMkLst>
          <pc:docMk/>
          <pc:sldMk cId="2905309745" sldId="2147470139"/>
        </pc:sldMkLst>
        <pc:spChg chg="mod">
          <ac:chgData name="Kondo, Masaki" userId="2b6f3f0d-b94f-4594-a7aa-f151f0bab74b" providerId="ADAL" clId="{47C1EE2D-BA6A-4610-B13C-653A301B9C44}" dt="2023-04-20T06:36:56.760" v="286" actId="403"/>
          <ac:spMkLst>
            <pc:docMk/>
            <pc:sldMk cId="2905309745" sldId="2147470139"/>
            <ac:spMk id="133" creationId="{7D79C4C2-C13F-4AFC-9398-6F29FBB6376D}"/>
          </ac:spMkLst>
        </pc:spChg>
        <pc:spChg chg="mod">
          <ac:chgData name="Kondo, Masaki" userId="2b6f3f0d-b94f-4594-a7aa-f151f0bab74b" providerId="ADAL" clId="{47C1EE2D-BA6A-4610-B13C-653A301B9C44}" dt="2023-04-20T06:36:56.760" v="286" actId="403"/>
          <ac:spMkLst>
            <pc:docMk/>
            <pc:sldMk cId="2905309745" sldId="2147470139"/>
            <ac:spMk id="134" creationId="{A1B65260-2EB8-475F-86C4-078F90588C2A}"/>
          </ac:spMkLst>
        </pc:spChg>
        <pc:spChg chg="mod">
          <ac:chgData name="Kondo, Masaki" userId="2b6f3f0d-b94f-4594-a7aa-f151f0bab74b" providerId="ADAL" clId="{47C1EE2D-BA6A-4610-B13C-653A301B9C44}" dt="2023-04-20T06:36:56.760" v="286" actId="403"/>
          <ac:spMkLst>
            <pc:docMk/>
            <pc:sldMk cId="2905309745" sldId="2147470139"/>
            <ac:spMk id="135" creationId="{E5FC502C-DEC6-4FB8-A6DB-027FE9800B53}"/>
          </ac:spMkLst>
        </pc:spChg>
      </pc:sldChg>
      <pc:sldChg chg="add">
        <pc:chgData name="Kondo, Masaki" userId="2b6f3f0d-b94f-4594-a7aa-f151f0bab74b" providerId="ADAL" clId="{47C1EE2D-BA6A-4610-B13C-653A301B9C44}" dt="2023-04-16T06:56:03.133" v="199"/>
        <pc:sldMkLst>
          <pc:docMk/>
          <pc:sldMk cId="1706762920" sldId="2147470160"/>
        </pc:sldMkLst>
      </pc:sldChg>
      <pc:sldChg chg="modSp add mod">
        <pc:chgData name="Kondo, Masaki" userId="2b6f3f0d-b94f-4594-a7aa-f151f0bab74b" providerId="ADAL" clId="{47C1EE2D-BA6A-4610-B13C-653A301B9C44}" dt="2023-04-20T06:38:00.755" v="287" actId="207"/>
        <pc:sldMkLst>
          <pc:docMk/>
          <pc:sldMk cId="1213543955" sldId="2147470722"/>
        </pc:sldMkLst>
        <pc:spChg chg="mod">
          <ac:chgData name="Kondo, Masaki" userId="2b6f3f0d-b94f-4594-a7aa-f151f0bab74b" providerId="ADAL" clId="{47C1EE2D-BA6A-4610-B13C-653A301B9C44}" dt="2023-04-20T06:38:00.755" v="287" actId="207"/>
          <ac:spMkLst>
            <pc:docMk/>
            <pc:sldMk cId="1213543955" sldId="2147470722"/>
            <ac:spMk id="30" creationId="{05B28756-3CDD-46C0-9459-E6887B5656DD}"/>
          </ac:spMkLst>
        </pc:spChg>
      </pc:sldChg>
      <pc:sldChg chg="delSp add mod">
        <pc:chgData name="Kondo, Masaki" userId="2b6f3f0d-b94f-4594-a7aa-f151f0bab74b" providerId="ADAL" clId="{47C1EE2D-BA6A-4610-B13C-653A301B9C44}" dt="2023-04-20T06:43:08.358" v="293" actId="478"/>
        <pc:sldMkLst>
          <pc:docMk/>
          <pc:sldMk cId="4261094296" sldId="2147470724"/>
        </pc:sldMkLst>
        <pc:graphicFrameChg chg="del">
          <ac:chgData name="Kondo, Masaki" userId="2b6f3f0d-b94f-4594-a7aa-f151f0bab74b" providerId="ADAL" clId="{47C1EE2D-BA6A-4610-B13C-653A301B9C44}" dt="2023-04-20T06:43:08.358" v="293" actId="478"/>
          <ac:graphicFrameMkLst>
            <pc:docMk/>
            <pc:sldMk cId="4261094296" sldId="2147470724"/>
            <ac:graphicFrameMk id="26" creationId="{966502D3-BAB7-4F39-B589-D43AD8D4CD9C}"/>
          </ac:graphicFrameMkLst>
        </pc:graphicFrameChg>
      </pc:sldChg>
      <pc:sldChg chg="add">
        <pc:chgData name="Kondo, Masaki" userId="2b6f3f0d-b94f-4594-a7aa-f151f0bab74b" providerId="ADAL" clId="{47C1EE2D-BA6A-4610-B13C-653A301B9C44}" dt="2023-04-16T06:56:03.133" v="199"/>
        <pc:sldMkLst>
          <pc:docMk/>
          <pc:sldMk cId="2399885563" sldId="2147470728"/>
        </pc:sldMkLst>
      </pc:sldChg>
      <pc:sldChg chg="add">
        <pc:chgData name="Kondo, Masaki" userId="2b6f3f0d-b94f-4594-a7aa-f151f0bab74b" providerId="ADAL" clId="{47C1EE2D-BA6A-4610-B13C-653A301B9C44}" dt="2023-04-16T06:07:59.346" v="197"/>
        <pc:sldMkLst>
          <pc:docMk/>
          <pc:sldMk cId="2900247958" sldId="2147470730"/>
        </pc:sldMkLst>
      </pc:sldChg>
      <pc:sldChg chg="new del">
        <pc:chgData name="Kondo, Masaki" userId="2b6f3f0d-b94f-4594-a7aa-f151f0bab74b" providerId="ADAL" clId="{47C1EE2D-BA6A-4610-B13C-653A301B9C44}" dt="2023-04-16T07:43:41.782" v="281" actId="47"/>
        <pc:sldMkLst>
          <pc:docMk/>
          <pc:sldMk cId="2379386368" sldId="2147470731"/>
        </pc:sldMkLst>
      </pc:sldChg>
      <pc:sldChg chg="add">
        <pc:chgData name="Kondo, Masaki" userId="2b6f3f0d-b94f-4594-a7aa-f151f0bab74b" providerId="ADAL" clId="{47C1EE2D-BA6A-4610-B13C-653A301B9C44}" dt="2023-04-16T06:56:03.133" v="199"/>
        <pc:sldMkLst>
          <pc:docMk/>
          <pc:sldMk cId="2216199446" sldId="2147470732"/>
        </pc:sldMkLst>
      </pc:sldChg>
      <pc:sldChg chg="add">
        <pc:chgData name="Kondo, Masaki" userId="2b6f3f0d-b94f-4594-a7aa-f151f0bab74b" providerId="ADAL" clId="{47C1EE2D-BA6A-4610-B13C-653A301B9C44}" dt="2023-04-16T06:59:43.847" v="200"/>
        <pc:sldMkLst>
          <pc:docMk/>
          <pc:sldMk cId="4229189743" sldId="2147471200"/>
        </pc:sldMkLst>
      </pc:sldChg>
      <pc:sldChg chg="add">
        <pc:chgData name="Kondo, Masaki" userId="2b6f3f0d-b94f-4594-a7aa-f151f0bab74b" providerId="ADAL" clId="{47C1EE2D-BA6A-4610-B13C-653A301B9C44}" dt="2023-04-16T07:01:24.921" v="201"/>
        <pc:sldMkLst>
          <pc:docMk/>
          <pc:sldMk cId="974192551" sldId="2147471201"/>
        </pc:sldMkLst>
      </pc:sldChg>
      <pc:sldChg chg="modSp add mod">
        <pc:chgData name="Kondo, Masaki" userId="2b6f3f0d-b94f-4594-a7aa-f151f0bab74b" providerId="ADAL" clId="{47C1EE2D-BA6A-4610-B13C-653A301B9C44}" dt="2023-04-16T07:02:09.496" v="247" actId="6549"/>
        <pc:sldMkLst>
          <pc:docMk/>
          <pc:sldMk cId="1333243016" sldId="2147471202"/>
        </pc:sldMkLst>
        <pc:spChg chg="mod">
          <ac:chgData name="Kondo, Masaki" userId="2b6f3f0d-b94f-4594-a7aa-f151f0bab74b" providerId="ADAL" clId="{47C1EE2D-BA6A-4610-B13C-653A301B9C44}" dt="2023-04-16T07:02:09.496" v="247" actId="6549"/>
          <ac:spMkLst>
            <pc:docMk/>
            <pc:sldMk cId="1333243016" sldId="2147471202"/>
            <ac:spMk id="3" creationId="{9AF6D124-4EA1-E9AA-2611-6793893FCEDD}"/>
          </ac:spMkLst>
        </pc:spChg>
      </pc:sldChg>
      <pc:sldChg chg="add">
        <pc:chgData name="Kondo, Masaki" userId="2b6f3f0d-b94f-4594-a7aa-f151f0bab74b" providerId="ADAL" clId="{47C1EE2D-BA6A-4610-B13C-653A301B9C44}" dt="2023-04-16T06:56:03.133" v="199"/>
        <pc:sldMkLst>
          <pc:docMk/>
          <pc:sldMk cId="1803401332" sldId="2147471205"/>
        </pc:sldMkLst>
      </pc:sldChg>
      <pc:sldChg chg="add">
        <pc:chgData name="Kondo, Masaki" userId="2b6f3f0d-b94f-4594-a7aa-f151f0bab74b" providerId="ADAL" clId="{47C1EE2D-BA6A-4610-B13C-653A301B9C44}" dt="2023-04-16T06:59:43.847" v="200"/>
        <pc:sldMkLst>
          <pc:docMk/>
          <pc:sldMk cId="1041985128" sldId="2147471206"/>
        </pc:sldMkLst>
      </pc:sldChg>
      <pc:sldChg chg="add">
        <pc:chgData name="Kondo, Masaki" userId="2b6f3f0d-b94f-4594-a7aa-f151f0bab74b" providerId="ADAL" clId="{47C1EE2D-BA6A-4610-B13C-653A301B9C44}" dt="2023-04-16T06:59:43.847" v="200"/>
        <pc:sldMkLst>
          <pc:docMk/>
          <pc:sldMk cId="2499708876" sldId="2147471207"/>
        </pc:sldMkLst>
      </pc:sldChg>
      <pc:sldChg chg="modSp add mod">
        <pc:chgData name="Kondo, Masaki" userId="2b6f3f0d-b94f-4594-a7aa-f151f0bab74b" providerId="ADAL" clId="{47C1EE2D-BA6A-4610-B13C-653A301B9C44}" dt="2023-04-16T07:39:25.822" v="276" actId="403"/>
        <pc:sldMkLst>
          <pc:docMk/>
          <pc:sldMk cId="3148450902" sldId="2147471208"/>
        </pc:sldMkLst>
        <pc:spChg chg="mod">
          <ac:chgData name="Kondo, Masaki" userId="2b6f3f0d-b94f-4594-a7aa-f151f0bab74b" providerId="ADAL" clId="{47C1EE2D-BA6A-4610-B13C-653A301B9C44}" dt="2023-04-16T07:39:25.822" v="276" actId="403"/>
          <ac:spMkLst>
            <pc:docMk/>
            <pc:sldMk cId="3148450902" sldId="2147471208"/>
            <ac:spMk id="2" creationId="{B37D7203-5671-C0FC-73CE-FD7FEE65D5DC}"/>
          </ac:spMkLst>
        </pc:spChg>
        <pc:spChg chg="mod">
          <ac:chgData name="Kondo, Masaki" userId="2b6f3f0d-b94f-4594-a7aa-f151f0bab74b" providerId="ADAL" clId="{47C1EE2D-BA6A-4610-B13C-653A301B9C44}" dt="2023-04-16T07:39:02.283" v="270" actId="20577"/>
          <ac:spMkLst>
            <pc:docMk/>
            <pc:sldMk cId="3148450902" sldId="2147471208"/>
            <ac:spMk id="3" creationId="{9AF6D124-4EA1-E9AA-2611-6793893FCEDD}"/>
          </ac:spMkLst>
        </pc:spChg>
      </pc:sldChg>
      <pc:sldChg chg="delSp modSp add mod">
        <pc:chgData name="Kondo, Masaki" userId="2b6f3f0d-b94f-4594-a7aa-f151f0bab74b" providerId="ADAL" clId="{47C1EE2D-BA6A-4610-B13C-653A301B9C44}" dt="2023-04-20T06:44:00.902" v="303" actId="403"/>
        <pc:sldMkLst>
          <pc:docMk/>
          <pc:sldMk cId="2132471254" sldId="2147471209"/>
        </pc:sldMkLst>
        <pc:spChg chg="del">
          <ac:chgData name="Kondo, Masaki" userId="2b6f3f0d-b94f-4594-a7aa-f151f0bab74b" providerId="ADAL" clId="{47C1EE2D-BA6A-4610-B13C-653A301B9C44}" dt="2023-04-20T06:43:16.697" v="294" actId="478"/>
          <ac:spMkLst>
            <pc:docMk/>
            <pc:sldMk cId="2132471254" sldId="2147471209"/>
            <ac:spMk id="10" creationId="{11F35B9C-0083-4742-AACC-979F06B3BF34}"/>
          </ac:spMkLst>
        </pc:spChg>
        <pc:spChg chg="del">
          <ac:chgData name="Kondo, Masaki" userId="2b6f3f0d-b94f-4594-a7aa-f151f0bab74b" providerId="ADAL" clId="{47C1EE2D-BA6A-4610-B13C-653A301B9C44}" dt="2023-04-20T06:43:16.697" v="294" actId="478"/>
          <ac:spMkLst>
            <pc:docMk/>
            <pc:sldMk cId="2132471254" sldId="2147471209"/>
            <ac:spMk id="35" creationId="{07EFCCE6-8363-4126-BA7A-8F63E64FD4D2}"/>
          </ac:spMkLst>
        </pc:spChg>
        <pc:grpChg chg="del">
          <ac:chgData name="Kondo, Masaki" userId="2b6f3f0d-b94f-4594-a7aa-f151f0bab74b" providerId="ADAL" clId="{47C1EE2D-BA6A-4610-B13C-653A301B9C44}" dt="2023-04-20T06:43:16.697" v="294" actId="478"/>
          <ac:grpSpMkLst>
            <pc:docMk/>
            <pc:sldMk cId="2132471254" sldId="2147471209"/>
            <ac:grpSpMk id="6" creationId="{E4D0EB5F-C576-4BB0-9DCD-67F6480F9204}"/>
          </ac:grpSpMkLst>
        </pc:grpChg>
        <pc:grpChg chg="del">
          <ac:chgData name="Kondo, Masaki" userId="2b6f3f0d-b94f-4594-a7aa-f151f0bab74b" providerId="ADAL" clId="{47C1EE2D-BA6A-4610-B13C-653A301B9C44}" dt="2023-04-20T06:43:16.697" v="294" actId="478"/>
          <ac:grpSpMkLst>
            <pc:docMk/>
            <pc:sldMk cId="2132471254" sldId="2147471209"/>
            <ac:grpSpMk id="9" creationId="{2E837432-1EA0-4501-866F-388620545CC4}"/>
          </ac:grpSpMkLst>
        </pc:grpChg>
        <pc:graphicFrameChg chg="mod modGraphic">
          <ac:chgData name="Kondo, Masaki" userId="2b6f3f0d-b94f-4594-a7aa-f151f0bab74b" providerId="ADAL" clId="{47C1EE2D-BA6A-4610-B13C-653A301B9C44}" dt="2023-04-20T06:44:00.902" v="303" actId="403"/>
          <ac:graphicFrameMkLst>
            <pc:docMk/>
            <pc:sldMk cId="2132471254" sldId="2147471209"/>
            <ac:graphicFrameMk id="26" creationId="{966502D3-BAB7-4F39-B589-D43AD8D4CD9C}"/>
          </ac:graphicFrameMkLst>
        </pc:graphicFrameChg>
      </pc:sldChg>
      <pc:sldMasterChg chg="delSldLayout modSldLayout">
        <pc:chgData name="Kondo, Masaki" userId="2b6f3f0d-b94f-4594-a7aa-f151f0bab74b" providerId="ADAL" clId="{47C1EE2D-BA6A-4610-B13C-653A301B9C44}" dt="2023-04-17T06:46:19.412" v="284" actId="47"/>
        <pc:sldMasterMkLst>
          <pc:docMk/>
          <pc:sldMasterMk cId="4048717320" sldId="2147483660"/>
        </pc:sldMasterMkLst>
        <pc:sldLayoutChg chg="delSp mod">
          <pc:chgData name="Kondo, Masaki" userId="2b6f3f0d-b94f-4594-a7aa-f151f0bab74b" providerId="ADAL" clId="{47C1EE2D-BA6A-4610-B13C-653A301B9C44}" dt="2023-04-16T08:17:59.691" v="283" actId="478"/>
          <pc:sldLayoutMkLst>
            <pc:docMk/>
            <pc:sldMasterMk cId="4048717320" sldId="2147483660"/>
            <pc:sldLayoutMk cId="3858228905" sldId="2147483800"/>
          </pc:sldLayoutMkLst>
          <pc:picChg chg="del">
            <ac:chgData name="Kondo, Masaki" userId="2b6f3f0d-b94f-4594-a7aa-f151f0bab74b" providerId="ADAL" clId="{47C1EE2D-BA6A-4610-B13C-653A301B9C44}" dt="2023-04-16T08:17:59.691" v="283" actId="478"/>
            <ac:picMkLst>
              <pc:docMk/>
              <pc:sldMasterMk cId="4048717320" sldId="2147483660"/>
              <pc:sldLayoutMk cId="3858228905" sldId="2147483800"/>
              <ac:picMk id="4" creationId="{00000000-0000-0000-0000-000000000000}"/>
            </ac:picMkLst>
          </pc:picChg>
        </pc:sldLayoutChg>
        <pc:sldLayoutChg chg="del">
          <pc:chgData name="Kondo, Masaki" userId="2b6f3f0d-b94f-4594-a7aa-f151f0bab74b" providerId="ADAL" clId="{47C1EE2D-BA6A-4610-B13C-653A301B9C44}" dt="2023-04-17T06:46:19.412" v="284" actId="47"/>
          <pc:sldLayoutMkLst>
            <pc:docMk/>
            <pc:sldMasterMk cId="4048717320" sldId="2147483660"/>
            <pc:sldLayoutMk cId="4015124024" sldId="2147483808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780683" y="8990041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t>© Copyright 2019 Dell Inc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36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173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2280" y="3803332"/>
            <a:ext cx="6009640" cy="44948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780683" y="8990041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t>© Copyright 2019 Dell Inc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13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spcBef>
        <a:spcPts val="0"/>
      </a:spcBef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1pPr>
    <a:lvl2pPr marL="5143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•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2pPr>
    <a:lvl3pPr marL="8572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–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3pPr>
    <a:lvl4pPr marL="12001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▪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4pPr>
    <a:lvl5pPr marL="15430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" Target="../slides/slide2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55371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94F4BE-EEA8-4CC2-BF23-A6EEFCC607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8528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22491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514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9063" y="831850"/>
            <a:ext cx="4537075" cy="2552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4669" y="3511182"/>
            <a:ext cx="6414868" cy="5989078"/>
          </a:xfrm>
        </p:spPr>
        <p:txBody>
          <a:bodyPr/>
          <a:lstStyle/>
          <a:p>
            <a:pPr defTabSz="718101">
              <a:defRPr/>
            </a:pP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7131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316224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9805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8375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095274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097453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1963" y="173038"/>
            <a:ext cx="3786187" cy="2130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921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94F52AB8-1754-434D-8214-1A35448907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4350" y="174625"/>
            <a:ext cx="5994400" cy="3373438"/>
          </a:xfrm>
        </p:spPr>
      </p:sp>
    </p:spTree>
    <p:extLst>
      <p:ext uri="{BB962C8B-B14F-4D97-AF65-F5344CB8AC3E}">
        <p14:creationId xmlns:p14="http://schemas.microsoft.com/office/powerpoint/2010/main" val="9058269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686954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3FAFED-8BE0-4505-BD07-8A0AE6DFBD3D}" type="slidenum">
              <a:rPr kumimoji="0" lang="en-US" sz="1350" b="0" i="0" u="none" strike="noStrike" kern="1200" cap="none" spc="0" normalizeH="0" baseline="0" noProof="0" smtClean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2798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4466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24BDBAA-A3C9-4790-9B02-9172793217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9715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384175"/>
            <a:ext cx="6096000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>
              <a:solidFill>
                <a:schemeClr val="tx1"/>
              </a:solidFill>
              <a:effectLst/>
              <a:latin typeface="Museo Sans For Dell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4BB6B-BEDE-48E4-970F-8DFC0D4B5A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54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46538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94F4BE-EEA8-4CC2-BF23-A6EEFCC607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014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363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AD29DA-2D0B-4A45-9B14-40C5A13DAA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92637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94F4BE-EEA8-4CC2-BF23-A6EEFCC607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4792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 No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419E4CA-02B7-384D-9E21-DBB12E54D5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23" b="592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D900BB0-A66D-4ADE-8C31-6572D2CED6C9}"/>
              </a:ext>
            </a:extLst>
          </p:cNvPr>
          <p:cNvSpPr/>
          <p:nvPr userDrawn="1"/>
        </p:nvSpPr>
        <p:spPr>
          <a:xfrm>
            <a:off x="0" y="1053225"/>
            <a:ext cx="9144000" cy="4095750"/>
          </a:xfrm>
          <a:prstGeom prst="rect">
            <a:avLst/>
          </a:prstGeom>
          <a:gradFill>
            <a:gsLst>
              <a:gs pos="0">
                <a:schemeClr val="accent1">
                  <a:alpha val="0"/>
                </a:schemeClr>
              </a:gs>
              <a:gs pos="100000">
                <a:srgbClr val="002854">
                  <a:alpha val="39000"/>
                </a:srgb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E17DA5-F61F-BB48-8842-E3CE8D4DD5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96196" y="4683342"/>
            <a:ext cx="1161288" cy="3355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5C187E8-DC6C-BA45-BC8C-15147A5A2E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85750" y="214400"/>
            <a:ext cx="1225474" cy="29333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E2515A6-C56D-4D53-972A-E57315E945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750" y="998015"/>
            <a:ext cx="558165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D8F8BC7-6608-4DED-90B3-A502199CE4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5750" y="3670450"/>
            <a:ext cx="367665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1373859-7C96-462F-A776-F41334AEFB6F}"/>
              </a:ext>
            </a:extLst>
          </p:cNvPr>
          <p:cNvSpPr txBox="1"/>
          <p:nvPr userDrawn="1"/>
        </p:nvSpPr>
        <p:spPr>
          <a:xfrm>
            <a:off x="6347272" y="204167"/>
            <a:ext cx="26239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ja-JP" sz="1600" b="1" i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roes Forum 2023 April</a:t>
            </a:r>
            <a:endParaRPr lang="ja-JP" altLang="en-US" sz="1600" b="1" i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368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78" y="4629150"/>
            <a:ext cx="2057400" cy="267464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285750" y="3153695"/>
            <a:ext cx="5978331" cy="5429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350" baseline="0">
                <a:solidFill>
                  <a:schemeClr val="tx2"/>
                </a:solidFill>
                <a:latin typeface="+mn-lt"/>
              </a:defRPr>
            </a:lvl1pPr>
            <a:lvl2pPr marL="342896" indent="0" algn="ctr">
              <a:buNone/>
              <a:defRPr sz="1500"/>
            </a:lvl2pPr>
            <a:lvl3pPr marL="685790" indent="0" algn="ctr">
              <a:buNone/>
              <a:defRPr sz="1350"/>
            </a:lvl3pPr>
            <a:lvl4pPr marL="1028684" indent="0" algn="ctr">
              <a:buNone/>
              <a:defRPr sz="1200"/>
            </a:lvl4pPr>
            <a:lvl5pPr marL="1371580" indent="0" algn="ctr">
              <a:buNone/>
              <a:defRPr sz="1200"/>
            </a:lvl5pPr>
            <a:lvl6pPr marL="1714475" indent="0" algn="ctr">
              <a:buNone/>
              <a:defRPr sz="1200"/>
            </a:lvl6pPr>
            <a:lvl7pPr marL="2057369" indent="0" algn="ctr">
              <a:buNone/>
              <a:defRPr sz="1200"/>
            </a:lvl7pPr>
            <a:lvl8pPr marL="2400264" indent="0" algn="ctr">
              <a:buNone/>
              <a:defRPr sz="1200"/>
            </a:lvl8pPr>
            <a:lvl9pPr marL="274316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285751" y="2571751"/>
            <a:ext cx="342900" cy="8572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85750" y="1864658"/>
            <a:ext cx="5976962" cy="56092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4050" baseline="0" dirty="0">
                <a:solidFill>
                  <a:srgbClr val="E5F8FF"/>
                </a:solidFill>
                <a:effectLst>
                  <a:glow rad="127000">
                    <a:srgbClr val="0D32A4"/>
                  </a:glow>
                </a:effectLst>
                <a:latin typeface="+mj-lt"/>
              </a:defRPr>
            </a:lvl1pPr>
          </a:lstStyle>
          <a:p>
            <a:pPr marL="0" lvl="0"/>
            <a:r>
              <a:rPr lang="ja-JP" altLang="en-US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97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1" y="257176"/>
            <a:ext cx="8572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1" y="1200150"/>
            <a:ext cx="8572500" cy="3429000"/>
          </a:xfrm>
          <a:prstGeom prst="rect">
            <a:avLst/>
          </a:prstGeom>
        </p:spPr>
        <p:txBody>
          <a:bodyPr lIns="0" tIns="0" rIns="0" bIns="0"/>
          <a:lstStyle>
            <a:lvl1pPr marL="171448" indent="-171448">
              <a:lnSpc>
                <a:spcPct val="100000"/>
              </a:lnSpc>
              <a:spcBef>
                <a:spcPts val="9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 baseline="0">
                <a:solidFill>
                  <a:schemeClr val="bg2"/>
                </a:solidFill>
                <a:latin typeface="+mn-lt"/>
              </a:defRPr>
            </a:lvl1pPr>
            <a:lvl2pPr marL="514343" indent="-171448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50" baseline="0">
                <a:solidFill>
                  <a:schemeClr val="bg2"/>
                </a:solidFill>
                <a:latin typeface="+mn-lt"/>
              </a:defRPr>
            </a:lvl2pPr>
            <a:lvl3pPr marL="800087" indent="-114299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050" baseline="0">
                <a:solidFill>
                  <a:schemeClr val="bg2"/>
                </a:solidFill>
                <a:latin typeface="+mn-lt"/>
              </a:defRPr>
            </a:lvl3pPr>
            <a:lvl4pPr marL="1200132" indent="-17144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28" indent="-171448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169402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1" y="257176"/>
            <a:ext cx="8572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285750" y="1200150"/>
            <a:ext cx="4114800" cy="3429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900"/>
              </a:spcBef>
              <a:buClr>
                <a:srgbClr val="808080"/>
              </a:buClr>
              <a:defRPr sz="1800" baseline="0">
                <a:solidFill>
                  <a:schemeClr val="bg2"/>
                </a:solidFill>
                <a:latin typeface="+mn-lt"/>
              </a:defRPr>
            </a:lvl1pPr>
            <a:lvl2pPr marL="514343" indent="-171448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50" baseline="0">
                <a:solidFill>
                  <a:schemeClr val="bg2"/>
                </a:solidFill>
                <a:latin typeface="+mn-lt"/>
              </a:defRPr>
            </a:lvl2pPr>
            <a:lvl3pPr marL="857237" indent="-171448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50" baseline="0">
                <a:solidFill>
                  <a:schemeClr val="bg2"/>
                </a:solidFill>
                <a:latin typeface="+mn-lt"/>
              </a:defRPr>
            </a:lvl3pPr>
            <a:lvl4pPr marL="1200132" indent="-171448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28" indent="-171448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4743450" y="1200150"/>
            <a:ext cx="4114800" cy="3429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900"/>
              </a:spcBef>
              <a:buClr>
                <a:srgbClr val="808080"/>
              </a:buClr>
              <a:defRPr sz="1800" baseline="0">
                <a:solidFill>
                  <a:schemeClr val="bg2"/>
                </a:solidFill>
                <a:latin typeface="+mn-lt"/>
              </a:defRPr>
            </a:lvl1pPr>
            <a:lvl2pPr marL="514343" indent="-171448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350" baseline="0">
                <a:solidFill>
                  <a:schemeClr val="bg2"/>
                </a:solidFill>
                <a:latin typeface="+mn-lt"/>
              </a:defRPr>
            </a:lvl2pPr>
            <a:lvl3pPr marL="857237" indent="-171448">
              <a:lnSpc>
                <a:spcPct val="100000"/>
              </a:lnSpc>
              <a:spcBef>
                <a:spcPts val="45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50" baseline="0">
                <a:solidFill>
                  <a:schemeClr val="bg2"/>
                </a:solidFill>
                <a:latin typeface="+mn-lt"/>
              </a:defRPr>
            </a:lvl3pPr>
            <a:lvl4pPr marL="1200132" indent="-171448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28" indent="-171448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301352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28650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100" indent="-11430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50" indent="-171450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258796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85750" y="1823853"/>
            <a:ext cx="7886700" cy="149579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54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976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77489DF-E9A2-47F9-BFAC-8BD1D17F52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ln w="55000" cap="flat" cmpd="thickThin" algn="ctr">
            <a:noFill/>
            <a:prstDash val="solid"/>
            <a:headEnd type="none" w="med" len="med"/>
            <a:tailEnd type="none" w="med" len="med"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5F3B54-722E-443E-82CF-2493127D8C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831931"/>
            <a:ext cx="4083574" cy="3791343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7AE1442-28F7-4065-A9C9-0ECC2577D43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927862" y="831931"/>
            <a:ext cx="3861455" cy="3791343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6117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3F6EDA4-9D61-604C-BF2D-A3EC92EAB7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23" b="592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0079E6-FB4C-EE4A-9D42-C263FC212A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96196" y="4683342"/>
            <a:ext cx="1161288" cy="33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5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83FC08-6B74-4DF5-9FE8-737F866F57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8971" b="-1"/>
          <a:stretch/>
        </p:blipFill>
        <p:spPr>
          <a:xfrm>
            <a:off x="0" y="3548419"/>
            <a:ext cx="9144000" cy="159756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EAD692F-0735-47D9-B83B-AE129C937FF7}"/>
              </a:ext>
            </a:extLst>
          </p:cNvPr>
          <p:cNvSpPr/>
          <p:nvPr userDrawn="1"/>
        </p:nvSpPr>
        <p:spPr>
          <a:xfrm>
            <a:off x="0" y="3545933"/>
            <a:ext cx="9144000" cy="159756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1">
                  <a:lumMod val="50000"/>
                  <a:alpha val="35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EBBCF2-85AE-4A3C-B991-F06DBC19BD71}"/>
              </a:ext>
            </a:extLst>
          </p:cNvPr>
          <p:cNvSpPr/>
          <p:nvPr userDrawn="1"/>
        </p:nvSpPr>
        <p:spPr>
          <a:xfrm>
            <a:off x="0" y="3545932"/>
            <a:ext cx="9144000" cy="1597568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6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9710B77C-6FC4-462E-995E-B6ABCC0B2BCF}"/>
              </a:ext>
            </a:extLst>
          </p:cNvPr>
          <p:cNvSpPr txBox="1"/>
          <p:nvPr userDrawn="1"/>
        </p:nvSpPr>
        <p:spPr>
          <a:xfrm>
            <a:off x="4120755" y="5007744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>
                <a:solidFill>
                  <a:schemeClr val="tx2"/>
                </a:solidFill>
                <a:latin typeface="Arial" panose="020B0604020202020204" pitchFamily="34" charset="0"/>
              </a:rPr>
              <a:t>© Copyright 2023 Dell Inc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4E47E5-30FA-4E36-8247-CD4511F5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98062" y="4683342"/>
            <a:ext cx="1159422" cy="3355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992E3DCE-F78A-4FAA-A085-0AC1EF035678}"/>
              </a:ext>
            </a:extLst>
          </p:cNvPr>
          <p:cNvSpPr txBox="1"/>
          <p:nvPr userDrawn="1"/>
        </p:nvSpPr>
        <p:spPr>
          <a:xfrm>
            <a:off x="3840033" y="5007744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1022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364F805-3E19-4251-9422-03F7D46B61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8971" b="-1"/>
          <a:stretch/>
        </p:blipFill>
        <p:spPr>
          <a:xfrm>
            <a:off x="0" y="3548419"/>
            <a:ext cx="9144000" cy="159756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7D503EC-E468-4029-8912-26DFA1EFAA1E}"/>
              </a:ext>
            </a:extLst>
          </p:cNvPr>
          <p:cNvSpPr/>
          <p:nvPr userDrawn="1"/>
        </p:nvSpPr>
        <p:spPr>
          <a:xfrm>
            <a:off x="0" y="3545933"/>
            <a:ext cx="9144000" cy="159756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1">
                  <a:lumMod val="50000"/>
                  <a:alpha val="35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4D9225-FD18-47FB-919A-A3392E3E97F3}"/>
              </a:ext>
            </a:extLst>
          </p:cNvPr>
          <p:cNvSpPr/>
          <p:nvPr userDrawn="1"/>
        </p:nvSpPr>
        <p:spPr>
          <a:xfrm>
            <a:off x="0" y="3545933"/>
            <a:ext cx="9144000" cy="96216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8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12F7A3AB-69AF-496D-9300-9E7C87D3B842}"/>
              </a:ext>
            </a:extLst>
          </p:cNvPr>
          <p:cNvSpPr txBox="1"/>
          <p:nvPr userDrawn="1"/>
        </p:nvSpPr>
        <p:spPr>
          <a:xfrm>
            <a:off x="4120755" y="5007744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>
                <a:solidFill>
                  <a:schemeClr val="tx2"/>
                </a:solidFill>
                <a:latin typeface="Arial" panose="020B0604020202020204" pitchFamily="34" charset="0"/>
              </a:rPr>
              <a:t>© Copyright 2023 Dell Inc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67E5C1-D778-42EB-AA54-1536EECA96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98062" y="4683342"/>
            <a:ext cx="1159422" cy="3355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0D9F544-7C44-4AFF-ADD2-D3E4D3C7C7D1}"/>
              </a:ext>
            </a:extLst>
          </p:cNvPr>
          <p:cNvSpPr/>
          <p:nvPr userDrawn="1"/>
        </p:nvSpPr>
        <p:spPr>
          <a:xfrm>
            <a:off x="-766" y="3546565"/>
            <a:ext cx="9144000" cy="1597568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B56FE45-910E-4439-A5AE-3CD9A8212B4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84984" y="887023"/>
            <a:ext cx="8572500" cy="3621074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100" indent="-114300">
              <a:lnSpc>
                <a:spcPct val="100000"/>
              </a:lnSpc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▪"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50" indent="-171450">
              <a:lnSpc>
                <a:spcPct val="100000"/>
              </a:lnSpc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400"/>
            </a:lvl4pPr>
            <a:lvl5pPr marL="1543050" indent="-171450">
              <a:lnSpc>
                <a:spcPct val="100000"/>
              </a:lnSpc>
              <a:spcBef>
                <a:spcPts val="3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id="{E19BF28A-0BCB-425E-8D28-D951E6CFB09E}"/>
              </a:ext>
            </a:extLst>
          </p:cNvPr>
          <p:cNvSpPr txBox="1"/>
          <p:nvPr userDrawn="1"/>
        </p:nvSpPr>
        <p:spPr>
          <a:xfrm>
            <a:off x="3840033" y="5007744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94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32B1542-09B5-48E6-BBAE-F42622651E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8971" b="-1"/>
          <a:stretch/>
        </p:blipFill>
        <p:spPr>
          <a:xfrm>
            <a:off x="0" y="3548419"/>
            <a:ext cx="9144000" cy="15975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BDCFB8C-160C-4740-902E-B942321B8F28}"/>
              </a:ext>
            </a:extLst>
          </p:cNvPr>
          <p:cNvSpPr/>
          <p:nvPr userDrawn="1"/>
        </p:nvSpPr>
        <p:spPr>
          <a:xfrm>
            <a:off x="0" y="3545933"/>
            <a:ext cx="9144000" cy="159756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1">
                  <a:lumMod val="50000"/>
                  <a:alpha val="35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FE9FB2-117B-4C5D-8A70-2D72433F46F1}"/>
              </a:ext>
            </a:extLst>
          </p:cNvPr>
          <p:cNvSpPr/>
          <p:nvPr userDrawn="1"/>
        </p:nvSpPr>
        <p:spPr>
          <a:xfrm>
            <a:off x="0" y="3545933"/>
            <a:ext cx="9144000" cy="962164"/>
          </a:xfrm>
          <a:prstGeom prst="rect">
            <a:avLst/>
          </a:prstGeom>
          <a:gradFill flip="none" rotWithShape="1">
            <a:gsLst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5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275C8763-FD34-42ED-A37A-F2DEA09B5510}"/>
              </a:ext>
            </a:extLst>
          </p:cNvPr>
          <p:cNvSpPr txBox="1"/>
          <p:nvPr userDrawn="1"/>
        </p:nvSpPr>
        <p:spPr>
          <a:xfrm>
            <a:off x="4120755" y="5007744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>
                <a:solidFill>
                  <a:schemeClr val="tx2"/>
                </a:solidFill>
                <a:latin typeface="Arial" panose="020B0604020202020204" pitchFamily="34" charset="0"/>
              </a:rPr>
              <a:t>© Copyright 2023 Dell Inc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17C8DD-DCEE-4ABE-8FA4-C3F26FC301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98062" y="4683342"/>
            <a:ext cx="1159422" cy="3355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D61CCC4-6310-4DE8-AE29-2F7970C5C80B}"/>
              </a:ext>
            </a:extLst>
          </p:cNvPr>
          <p:cNvSpPr/>
          <p:nvPr userDrawn="1"/>
        </p:nvSpPr>
        <p:spPr>
          <a:xfrm>
            <a:off x="0" y="3540952"/>
            <a:ext cx="9144000" cy="1597568"/>
          </a:xfrm>
          <a:prstGeom prst="rect">
            <a:avLst/>
          </a:prstGeom>
          <a:gradFill flip="none" rotWithShape="1">
            <a:gsLst>
              <a:gs pos="57000">
                <a:srgbClr val="FFFFFF"/>
              </a:gs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8" name="TextBox 19">
            <a:extLst>
              <a:ext uri="{FF2B5EF4-FFF2-40B4-BE49-F238E27FC236}">
                <a16:creationId xmlns:a16="http://schemas.microsoft.com/office/drawing/2014/main" id="{0813584C-1849-4F38-A9B6-3BE8050212FC}"/>
              </a:ext>
            </a:extLst>
          </p:cNvPr>
          <p:cNvSpPr txBox="1"/>
          <p:nvPr userDrawn="1"/>
        </p:nvSpPr>
        <p:spPr>
          <a:xfrm>
            <a:off x="3840033" y="5007744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30390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378" y="2254304"/>
            <a:ext cx="5093208" cy="66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21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logo slide Mesh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BDBE881-87D7-4F4B-B0BC-D2D7E9DF93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485"/>
            <a:ext cx="9144000" cy="51484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BB9EDD4-DC36-4872-87F6-1C72639A54E6}"/>
              </a:ext>
            </a:extLst>
          </p:cNvPr>
          <p:cNvSpPr/>
          <p:nvPr userDrawn="1"/>
        </p:nvSpPr>
        <p:spPr>
          <a:xfrm>
            <a:off x="0" y="-4970"/>
            <a:ext cx="9144000" cy="5148470"/>
          </a:xfrm>
          <a:prstGeom prst="rect">
            <a:avLst/>
          </a:prstGeom>
          <a:gradFill>
            <a:gsLst>
              <a:gs pos="78000">
                <a:schemeClr val="bg1">
                  <a:alpha val="80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accent1">
                  <a:lumMod val="50000"/>
                  <a:alpha val="38000"/>
                </a:scheme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D2E66C-F92C-48A4-A462-9AD3A596BF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29168" y="1839475"/>
            <a:ext cx="5085665" cy="146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760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t>クリックしてマスタータイトルスタイルを編集</a:t>
            </a:r>
          </a:p>
        </p:txBody>
      </p:sp>
    </p:spTree>
    <p:extLst>
      <p:ext uri="{BB962C8B-B14F-4D97-AF65-F5344CB8AC3E}">
        <p14:creationId xmlns:p14="http://schemas.microsoft.com/office/powerpoint/2010/main" val="3858228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54359251-E085-484F-B4A8-F4F453B748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16E929A3-971F-4780-B03D-AA4DDE5EF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CDEF027-EA9B-4790-BCA8-ED8ACB8937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67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4120755" y="5007744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>
                <a:solidFill>
                  <a:srgbClr val="808080"/>
                </a:solidFill>
                <a:latin typeface="Arial" panose="020B0604020202020204" pitchFamily="34" charset="0"/>
              </a:rPr>
              <a:t>© Copyright 2023 Dell In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DBD123-AB49-4C10-9D0B-FFB9AE5CFD4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-5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98062" y="4683342"/>
            <a:ext cx="1159422" cy="335579"/>
          </a:xfrm>
          <a:prstGeom prst="rect">
            <a:avLst/>
          </a:prstGeom>
        </p:spPr>
      </p:pic>
      <p:sp>
        <p:nvSpPr>
          <p:cNvPr id="5" name="TextBox 19">
            <a:extLst>
              <a:ext uri="{FF2B5EF4-FFF2-40B4-BE49-F238E27FC236}">
                <a16:creationId xmlns:a16="http://schemas.microsoft.com/office/drawing/2014/main" id="{7D8BE53E-B530-453F-8938-31566CE696B8}"/>
              </a:ext>
            </a:extLst>
          </p:cNvPr>
          <p:cNvSpPr txBox="1"/>
          <p:nvPr userDrawn="1"/>
        </p:nvSpPr>
        <p:spPr>
          <a:xfrm>
            <a:off x="3840033" y="5007744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871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798" r:id="rId2"/>
    <p:sldLayoutId id="2147483662" r:id="rId3"/>
    <p:sldLayoutId id="2147483713" r:id="rId4"/>
    <p:sldLayoutId id="2147483667" r:id="rId5"/>
    <p:sldLayoutId id="2147483675" r:id="rId6"/>
    <p:sldLayoutId id="2147483676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1620" userDrawn="1">
          <p15:clr>
            <a:srgbClr val="F26B43"/>
          </p15:clr>
        </p15:guide>
        <p15:guide id="3" pos="180" userDrawn="1">
          <p15:clr>
            <a:srgbClr val="F26B43"/>
          </p15:clr>
        </p15:guide>
        <p15:guide id="4" pos="55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 ?><Relationships xmlns="http://schemas.openxmlformats.org/package/2006/relationships"><Relationship Id="rId8" Target="../media/image19.svg" Type="http://schemas.openxmlformats.org/officeDocument/2006/relationships/image"/><Relationship Id="rId3" Target="../media/image15.png" Type="http://schemas.openxmlformats.org/officeDocument/2006/relationships/image"/><Relationship Id="rId7" Target="../media/image18.png" Type="http://schemas.openxmlformats.org/officeDocument/2006/relationships/image"/><Relationship Id="rId2" Target="../notesSlides/notesSlide2.xml" Type="http://schemas.openxmlformats.org/officeDocument/2006/relationships/notesSlide"/><Relationship Id="rId1" Target="../slideLayouts/slideLayout8.xml" Type="http://schemas.openxmlformats.org/officeDocument/2006/relationships/slideLayout"/><Relationship Id="rId6" Target="../media/image17.svg" Type="http://schemas.openxmlformats.org/officeDocument/2006/relationships/image"/><Relationship Id="rId5" Target="../media/image16.png" Type="http://schemas.openxmlformats.org/officeDocument/2006/relationships/image"/><Relationship Id="rId4" Target="../media/hdphoto2.wdp" Type="http://schemas.microsoft.com/office/2007/relationships/hdphoto"/><Relationship Id="rId9" Target="../media/image20.jpeg" Type="http://schemas.openxmlformats.org/officeDocument/2006/relationships/image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 ?><Relationships xmlns="http://schemas.openxmlformats.org/package/2006/relationships"><Relationship Id="rId2" Target="../media/image53.jpeg" Type="http://schemas.openxmlformats.org/officeDocument/2006/relationships/image"/><Relationship Id="rId1" Target="../slideLayouts/slideLayout13.xml" Type="http://schemas.openxmlformats.org/officeDocument/2006/relationships/slideLayout"/></Relationships>
</file>

<file path=ppt/slides/_rels/slide22.xml.rels><?xml version="1.0" encoding="UTF-8" standalone="yes" ?><Relationships xmlns="http://schemas.openxmlformats.org/package/2006/relationships"><Relationship Id="rId13" Target="../tags/tag17.xml" Type="http://schemas.openxmlformats.org/officeDocument/2006/relationships/tags"/><Relationship Id="rId18" Target="../tags/tag22.xml" Type="http://schemas.openxmlformats.org/officeDocument/2006/relationships/tags"/><Relationship Id="rId26" Target="../tags/tag30.xml" Type="http://schemas.openxmlformats.org/officeDocument/2006/relationships/tags"/><Relationship Id="rId21" Target="../tags/tag25.xml" Type="http://schemas.openxmlformats.org/officeDocument/2006/relationships/tags"/><Relationship Id="rId34" Target="../media/image58.png" Type="http://schemas.openxmlformats.org/officeDocument/2006/relationships/image"/><Relationship Id="rId7" Target="../tags/tag11.xml" Type="http://schemas.openxmlformats.org/officeDocument/2006/relationships/tags"/><Relationship Id="rId12" Target="../tags/tag16.xml" Type="http://schemas.openxmlformats.org/officeDocument/2006/relationships/tags"/><Relationship Id="rId17" Target="../tags/tag21.xml" Type="http://schemas.openxmlformats.org/officeDocument/2006/relationships/tags"/><Relationship Id="rId25" Target="../tags/tag29.xml" Type="http://schemas.openxmlformats.org/officeDocument/2006/relationships/tags"/><Relationship Id="rId33" Target="../media/image57.png" Type="http://schemas.openxmlformats.org/officeDocument/2006/relationships/image"/><Relationship Id="rId38" Target="../media/image61.png" Type="http://schemas.openxmlformats.org/officeDocument/2006/relationships/image"/><Relationship Id="rId2" Target="../tags/tag6.xml" Type="http://schemas.openxmlformats.org/officeDocument/2006/relationships/tags"/><Relationship Id="rId16" Target="../tags/tag20.xml" Type="http://schemas.openxmlformats.org/officeDocument/2006/relationships/tags"/><Relationship Id="rId20" Target="../tags/tag24.xml" Type="http://schemas.openxmlformats.org/officeDocument/2006/relationships/tags"/><Relationship Id="rId29" Target="../notesSlides/notesSlide11.xml" Type="http://schemas.openxmlformats.org/officeDocument/2006/relationships/notesSlide"/><Relationship Id="rId1" Target="../tags/tag5.xml" Type="http://schemas.openxmlformats.org/officeDocument/2006/relationships/tags"/><Relationship Id="rId6" Target="../tags/tag10.xml" Type="http://schemas.openxmlformats.org/officeDocument/2006/relationships/tags"/><Relationship Id="rId11" Target="../tags/tag15.xml" Type="http://schemas.openxmlformats.org/officeDocument/2006/relationships/tags"/><Relationship Id="rId24" Target="../tags/tag28.xml" Type="http://schemas.openxmlformats.org/officeDocument/2006/relationships/tags"/><Relationship Id="rId32" Target="../media/image56.png" Type="http://schemas.openxmlformats.org/officeDocument/2006/relationships/image"/><Relationship Id="rId37" Target="../media/image60.jpeg" Type="http://schemas.openxmlformats.org/officeDocument/2006/relationships/image"/><Relationship Id="rId5" Target="../tags/tag9.xml" Type="http://schemas.openxmlformats.org/officeDocument/2006/relationships/tags"/><Relationship Id="rId15" Target="../tags/tag19.xml" Type="http://schemas.openxmlformats.org/officeDocument/2006/relationships/tags"/><Relationship Id="rId23" Target="../tags/tag27.xml" Type="http://schemas.openxmlformats.org/officeDocument/2006/relationships/tags"/><Relationship Id="rId28" Target="../slideLayouts/slideLayout8.xml" Type="http://schemas.openxmlformats.org/officeDocument/2006/relationships/slideLayout"/><Relationship Id="rId36" Target="../media/image59.png" Type="http://schemas.openxmlformats.org/officeDocument/2006/relationships/image"/><Relationship Id="rId10" Target="../tags/tag14.xml" Type="http://schemas.openxmlformats.org/officeDocument/2006/relationships/tags"/><Relationship Id="rId19" Target="../tags/tag23.xml" Type="http://schemas.openxmlformats.org/officeDocument/2006/relationships/tags"/><Relationship Id="rId31" Target="../media/image55.png" Type="http://schemas.openxmlformats.org/officeDocument/2006/relationships/image"/><Relationship Id="rId4" Target="../tags/tag8.xml" Type="http://schemas.openxmlformats.org/officeDocument/2006/relationships/tags"/><Relationship Id="rId9" Target="../tags/tag13.xml" Type="http://schemas.openxmlformats.org/officeDocument/2006/relationships/tags"/><Relationship Id="rId14" Target="../tags/tag18.xml" Type="http://schemas.openxmlformats.org/officeDocument/2006/relationships/tags"/><Relationship Id="rId22" Target="../tags/tag26.xml" Type="http://schemas.openxmlformats.org/officeDocument/2006/relationships/tags"/><Relationship Id="rId27" Target="../tags/tag31.xml" Type="http://schemas.openxmlformats.org/officeDocument/2006/relationships/tags"/><Relationship Id="rId30" Target="../media/image54.png" Type="http://schemas.openxmlformats.org/officeDocument/2006/relationships/image"/><Relationship Id="rId35" Target="../media/hdphoto3.wdp" Type="http://schemas.microsoft.com/office/2007/relationships/hdphoto"/><Relationship Id="rId8" Target="../tags/tag12.xml" Type="http://schemas.openxmlformats.org/officeDocument/2006/relationships/tags"/><Relationship Id="rId3" Target="../tags/tag7.xml" Type="http://schemas.openxmlformats.org/officeDocument/2006/relationships/tags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 ?><Relationships xmlns="http://schemas.openxmlformats.org/package/2006/relationships"><Relationship Id="rId8" Target="../media/image67.png" Type="http://schemas.openxmlformats.org/officeDocument/2006/relationships/image"/><Relationship Id="rId13" Target="../media/image71.png" Type="http://schemas.openxmlformats.org/officeDocument/2006/relationships/image"/><Relationship Id="rId3" Target="../media/image54.png" Type="http://schemas.openxmlformats.org/officeDocument/2006/relationships/image"/><Relationship Id="rId7" Target="../media/image66.png" Type="http://schemas.openxmlformats.org/officeDocument/2006/relationships/image"/><Relationship Id="rId12" Target="../media/image70.png" Type="http://schemas.openxmlformats.org/officeDocument/2006/relationships/image"/><Relationship Id="rId2" Target="../notesSlides/notesSlide12.xml" Type="http://schemas.openxmlformats.org/officeDocument/2006/relationships/notesSlide"/><Relationship Id="rId1" Target="../slideLayouts/slideLayout8.xml" Type="http://schemas.openxmlformats.org/officeDocument/2006/relationships/slideLayout"/><Relationship Id="rId6" Target="../media/image65.png" Type="http://schemas.openxmlformats.org/officeDocument/2006/relationships/image"/><Relationship Id="rId11" Target="../media/image69.png" Type="http://schemas.openxmlformats.org/officeDocument/2006/relationships/image"/><Relationship Id="rId5" Target="../media/image64.png" Type="http://schemas.openxmlformats.org/officeDocument/2006/relationships/image"/><Relationship Id="rId15" Target="../media/image73.png" Type="http://schemas.openxmlformats.org/officeDocument/2006/relationships/image"/><Relationship Id="rId10" Target="../media/image68.png" Type="http://schemas.openxmlformats.org/officeDocument/2006/relationships/image"/><Relationship Id="rId4" Target="../media/image55.png" Type="http://schemas.openxmlformats.org/officeDocument/2006/relationships/image"/><Relationship Id="rId9" Target="../media/hdphoto4.wdp" Type="http://schemas.microsoft.com/office/2007/relationships/hdphoto"/><Relationship Id="rId14" Target="../media/image72.png" Type="http://schemas.openxmlformats.org/officeDocument/2006/relationships/image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svg"/><Relationship Id="rId12" Type="http://schemas.openxmlformats.org/officeDocument/2006/relationships/image" Target="../media/image8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sv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 ?><Relationships xmlns="http://schemas.openxmlformats.org/package/2006/relationships"><Relationship Id="rId8" Target="../media/image27.jpeg" Type="http://schemas.openxmlformats.org/officeDocument/2006/relationships/image"/><Relationship Id="rId3" Target="../media/image22.jpeg" Type="http://schemas.openxmlformats.org/officeDocument/2006/relationships/image"/><Relationship Id="rId7" Target="../media/image26.png" Type="http://schemas.openxmlformats.org/officeDocument/2006/relationships/image"/><Relationship Id="rId2" Target="../media/image21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25.png" Type="http://schemas.openxmlformats.org/officeDocument/2006/relationships/image"/><Relationship Id="rId5" Target="../media/image24.png" Type="http://schemas.openxmlformats.org/officeDocument/2006/relationships/image"/><Relationship Id="rId4" Target="../media/image23.jpeg" Type="http://schemas.openxmlformats.org/officeDocument/2006/relationships/image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4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1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Relationship Id="rId9" Type="http://schemas.openxmlformats.org/officeDocument/2006/relationships/image" Target="../media/image89.png"/></Relationships>
</file>

<file path=ppt/slides/_rels/slide31.xml.rels><?xml version="1.0" encoding="UTF-8" standalone="yes" ?><Relationships xmlns="http://schemas.openxmlformats.org/package/2006/relationships"><Relationship Id="rId3" Target="../media/image84.png" Type="http://schemas.openxmlformats.org/officeDocument/2006/relationships/image"/><Relationship Id="rId2" Target="../notesSlides/notesSlide16.xml" Type="http://schemas.openxmlformats.org/officeDocument/2006/relationships/notesSlide"/><Relationship Id="rId1" Target="../slideLayouts/slideLayout8.xml" Type="http://schemas.openxmlformats.org/officeDocument/2006/relationships/slideLayout"/><Relationship Id="rId6" Target="../media/image92.png" Type="http://schemas.openxmlformats.org/officeDocument/2006/relationships/image"/><Relationship Id="rId5" Target="../media/image91.jpeg" Type="http://schemas.openxmlformats.org/officeDocument/2006/relationships/image"/><Relationship Id="rId4" Target="../media/image90.png" Type="http://schemas.openxmlformats.org/officeDocument/2006/relationships/image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png"/></Relationships>
</file>

<file path=ppt/slides/_rels/slide33.xml.rels><?xml version="1.0" encoding="UTF-8" standalone="yes" ?><Relationships xmlns="http://schemas.openxmlformats.org/package/2006/relationships"><Relationship Id="rId3" Target="../media/image95.png" Type="http://schemas.openxmlformats.org/officeDocument/2006/relationships/image"/><Relationship Id="rId2" Target="../notesSlides/notesSlide18.xml" Type="http://schemas.openxmlformats.org/officeDocument/2006/relationships/notesSlide"/><Relationship Id="rId1" Target="../slideLayouts/slideLayout15.xml" Type="http://schemas.openxmlformats.org/officeDocument/2006/relationships/slideLayout"/><Relationship Id="rId4" Target="../media/image96.png" Type="http://schemas.openxmlformats.org/officeDocument/2006/relationships/image"/></Relationships>
</file>

<file path=ppt/slides/_rels/slide34.xml.rels><?xml version="1.0" encoding="UTF-8" standalone="yes" ?><Relationships xmlns="http://schemas.openxmlformats.org/package/2006/relationships"><Relationship Id="rId3" Target="../media/image97.png" Type="http://schemas.openxmlformats.org/officeDocument/2006/relationships/image"/><Relationship Id="rId2" Target="../notesSlides/notesSlide19.xml" Type="http://schemas.openxmlformats.org/officeDocument/2006/relationships/notesSlide"/><Relationship Id="rId1" Target="../slideLayouts/slideLayout15.xml" Type="http://schemas.openxmlformats.org/officeDocument/2006/relationships/slideLayout"/><Relationship Id="rId5" Target="../media/image99.png" Type="http://schemas.openxmlformats.org/officeDocument/2006/relationships/image"/><Relationship Id="rId4" Target="../media/image98.png" Type="http://schemas.openxmlformats.org/officeDocument/2006/relationships/image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3" Type="http://schemas.openxmlformats.org/officeDocument/2006/relationships/image" Target="../media/image100.jpe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4.png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 ?><Relationships xmlns="http://schemas.openxmlformats.org/package/2006/relationships"><Relationship Id="rId3" Target="../notesSlides/notesSlide6.xml" Type="http://schemas.openxmlformats.org/officeDocument/2006/relationships/notesSlide"/><Relationship Id="rId2" Target="../slideLayouts/slideLayout3.xml" Type="http://schemas.openxmlformats.org/officeDocument/2006/relationships/slideLayout"/><Relationship Id="rId1" Target="../tags/tag2.xml" Type="http://schemas.openxmlformats.org/officeDocument/2006/relationships/tags"/><Relationship Id="rId6" Target="../media/image45.jpeg" Type="http://schemas.openxmlformats.org/officeDocument/2006/relationships/image"/><Relationship Id="rId5" Target="../media/image44.emf" Type="http://schemas.openxmlformats.org/officeDocument/2006/relationships/image"/><Relationship Id="rId4" Target="../embeddings/oleObject1.bin" Type="http://schemas.openxmlformats.org/officeDocument/2006/relationships/oleObject"/></Relationships>
</file>

<file path=ppt/slides/_rels/slide9.xml.rels><?xml version="1.0" encoding="UTF-8" standalone="yes" ?><Relationships xmlns="http://schemas.openxmlformats.org/package/2006/relationships"><Relationship Id="rId3" Target="../media/image47.jpeg" Type="http://schemas.openxmlformats.org/officeDocument/2006/relationships/image"/><Relationship Id="rId2" Target="../media/image46.jpeg" Type="http://schemas.openxmlformats.org/officeDocument/2006/relationships/image"/><Relationship Id="rId1" Target="../slideLayouts/slideLayout3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386C098-6572-47DB-9D04-39A6B3D298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750" y="182154"/>
            <a:ext cx="8404540" cy="2437590"/>
          </a:xfrm>
        </p:spPr>
        <p:txBody>
          <a:bodyPr/>
          <a:lstStyle/>
          <a:p>
            <a:r>
              <a:rPr kumimoji="1" lang="ja-JP" altLang="en-US" sz="4400" dirty="0"/>
              <a:t>最新データ保護アプライアンス登場！</a:t>
            </a:r>
            <a:br>
              <a:rPr kumimoji="1" lang="en-US" altLang="ja-JP" sz="4400" dirty="0"/>
            </a:br>
            <a:r>
              <a:rPr kumimoji="1" lang="en-US" altLang="ja-JP" sz="4400" dirty="0" err="1"/>
              <a:t>PowerProtect</a:t>
            </a:r>
            <a:r>
              <a:rPr kumimoji="1" lang="ja-JP" altLang="en-US" sz="4400" dirty="0"/>
              <a:t> </a:t>
            </a:r>
            <a:r>
              <a:rPr kumimoji="1" lang="en-US" altLang="ja-JP" sz="4400" dirty="0"/>
              <a:t>DM5500</a:t>
            </a:r>
            <a:r>
              <a:rPr kumimoji="1" lang="ja-JP" altLang="en-US" sz="4400" dirty="0"/>
              <a:t>とは？</a:t>
            </a:r>
            <a:endParaRPr kumimoji="1" lang="ja-JP" altLang="en-US" dirty="0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E3C2E543-586C-46C3-A488-577C8B9C6D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ja-JP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デル・テクノロジーズ株式会社</a:t>
            </a:r>
            <a:br>
              <a:rPr kumimoji="1" lang="en-US" altLang="ja-JP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kumimoji="1" lang="ja-JP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パートナーセールスエンジニアリング本部</a:t>
            </a:r>
            <a:br>
              <a:rPr kumimoji="1" lang="ja-JP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kumimoji="1" lang="ja-JP" alt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近藤　正樹</a:t>
            </a:r>
            <a:endParaRPr kumimoji="1" lang="ja-JP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3626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6E6C9BF-EA32-4076-B7FA-0236D9BC6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1"/>
            <a:ext cx="8572500" cy="332399"/>
          </a:xfrm>
        </p:spPr>
        <p:txBody>
          <a:bodyPr/>
          <a:lstStyle/>
          <a:p>
            <a:r>
              <a:rPr lang="en-US" altLang="ja-JP" sz="2400" dirty="0" err="1">
                <a:latin typeface="Arial Nova Light 見出し"/>
                <a:ea typeface="+mn-ea"/>
              </a:rPr>
              <a:t>PowerProtect</a:t>
            </a:r>
            <a:r>
              <a:rPr lang="en-US" altLang="ja-JP" sz="2400" dirty="0">
                <a:latin typeface="Arial Nova Light 見出し"/>
                <a:ea typeface="+mn-ea"/>
              </a:rPr>
              <a:t> DM5500 </a:t>
            </a:r>
            <a:r>
              <a:rPr lang="ja-JP" altLang="en-US" sz="2400" dirty="0">
                <a:latin typeface="Arial Nova Light 見出し"/>
                <a:ea typeface="+mn-ea"/>
              </a:rPr>
              <a:t>ディスク</a:t>
            </a:r>
            <a:r>
              <a:rPr lang="en-US" altLang="ja-JP" sz="2400" dirty="0">
                <a:latin typeface="Arial Nova Light 見出し"/>
                <a:ea typeface="+mn-ea"/>
              </a:rPr>
              <a:t> – </a:t>
            </a:r>
            <a:r>
              <a:rPr lang="ja-JP" altLang="en-US" sz="2400" dirty="0">
                <a:latin typeface="Arial Nova Light 見出し"/>
                <a:ea typeface="+mn-ea"/>
              </a:rPr>
              <a:t>ストレージ</a:t>
            </a:r>
            <a:endParaRPr kumimoji="1" lang="ja-JP" altLang="en-US" sz="2400" dirty="0">
              <a:latin typeface="Arial Nova Light 見出し"/>
              <a:ea typeface="+mn-ea"/>
            </a:endParaRP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1CA2B349-C2C1-417F-AEC6-150BCEC68038}"/>
              </a:ext>
            </a:extLst>
          </p:cNvPr>
          <p:cNvSpPr txBox="1"/>
          <p:nvPr/>
        </p:nvSpPr>
        <p:spPr>
          <a:xfrm>
            <a:off x="346713" y="4184050"/>
            <a:ext cx="78866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46" indent="-171446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  <a:latin typeface="+mn-ea"/>
              </a:rPr>
              <a:t>EBR – Extent-based raid 6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4FAE2CE-C1DC-4A0C-B0A4-AE94724E2F2A}"/>
              </a:ext>
            </a:extLst>
          </p:cNvPr>
          <p:cNvGraphicFramePr>
            <a:graphicFrameLocks noGrp="1"/>
          </p:cNvGraphicFramePr>
          <p:nvPr/>
        </p:nvGraphicFramePr>
        <p:xfrm>
          <a:off x="346712" y="975130"/>
          <a:ext cx="8225789" cy="1484778"/>
        </p:xfrm>
        <a:graphic>
          <a:graphicData uri="http://schemas.openxmlformats.org/drawingml/2006/table">
            <a:tbl>
              <a:tblPr/>
              <a:tblGrid>
                <a:gridCol w="560574">
                  <a:extLst>
                    <a:ext uri="{9D8B030D-6E8A-4147-A177-3AD203B41FA5}">
                      <a16:colId xmlns:a16="http://schemas.microsoft.com/office/drawing/2014/main" val="1242944521"/>
                    </a:ext>
                  </a:extLst>
                </a:gridCol>
                <a:gridCol w="560574">
                  <a:extLst>
                    <a:ext uri="{9D8B030D-6E8A-4147-A177-3AD203B41FA5}">
                      <a16:colId xmlns:a16="http://schemas.microsoft.com/office/drawing/2014/main" val="179014155"/>
                    </a:ext>
                  </a:extLst>
                </a:gridCol>
                <a:gridCol w="723620">
                  <a:extLst>
                    <a:ext uri="{9D8B030D-6E8A-4147-A177-3AD203B41FA5}">
                      <a16:colId xmlns:a16="http://schemas.microsoft.com/office/drawing/2014/main" val="1829127997"/>
                    </a:ext>
                  </a:extLst>
                </a:gridCol>
                <a:gridCol w="560574">
                  <a:extLst>
                    <a:ext uri="{9D8B030D-6E8A-4147-A177-3AD203B41FA5}">
                      <a16:colId xmlns:a16="http://schemas.microsoft.com/office/drawing/2014/main" val="4254378809"/>
                    </a:ext>
                  </a:extLst>
                </a:gridCol>
                <a:gridCol w="734097">
                  <a:extLst>
                    <a:ext uri="{9D8B030D-6E8A-4147-A177-3AD203B41FA5}">
                      <a16:colId xmlns:a16="http://schemas.microsoft.com/office/drawing/2014/main" val="2642686396"/>
                    </a:ext>
                  </a:extLst>
                </a:gridCol>
                <a:gridCol w="499670">
                  <a:extLst>
                    <a:ext uri="{9D8B030D-6E8A-4147-A177-3AD203B41FA5}">
                      <a16:colId xmlns:a16="http://schemas.microsoft.com/office/drawing/2014/main" val="2981353573"/>
                    </a:ext>
                  </a:extLst>
                </a:gridCol>
                <a:gridCol w="748804">
                  <a:extLst>
                    <a:ext uri="{9D8B030D-6E8A-4147-A177-3AD203B41FA5}">
                      <a16:colId xmlns:a16="http://schemas.microsoft.com/office/drawing/2014/main" val="1997794369"/>
                    </a:ext>
                  </a:extLst>
                </a:gridCol>
                <a:gridCol w="1951926">
                  <a:extLst>
                    <a:ext uri="{9D8B030D-6E8A-4147-A177-3AD203B41FA5}">
                      <a16:colId xmlns:a16="http://schemas.microsoft.com/office/drawing/2014/main" val="1595892937"/>
                    </a:ext>
                  </a:extLst>
                </a:gridCol>
                <a:gridCol w="1885950">
                  <a:extLst>
                    <a:ext uri="{9D8B030D-6E8A-4147-A177-3AD203B41FA5}">
                      <a16:colId xmlns:a16="http://schemas.microsoft.com/office/drawing/2014/main" val="330745660"/>
                    </a:ext>
                  </a:extLst>
                </a:gridCol>
              </a:tblGrid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ount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Typ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apacity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lot(s)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isks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RAI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Virtual DIsk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atastor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Us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7074792"/>
                  </a:ext>
                </a:extLst>
              </a:tr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S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240 GB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0 &amp; 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1, 1.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VD0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appliance-local-storag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OS boot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8294409"/>
                  </a:ext>
                </a:extLst>
              </a:tr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S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653.75 GB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0 &amp; 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1, 1.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VD0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</a:t>
                      </a:r>
                      <a:r>
                        <a:rPr lang="en-US" altLang="ja-JP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M</a:t>
                      </a: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-appliance-datastore-storag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OS Storag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609481"/>
                  </a:ext>
                </a:extLst>
              </a:tr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S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92 TB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3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EBR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ache tier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532183"/>
                  </a:ext>
                </a:extLst>
              </a:tr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HD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2 TB x 2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4 &amp; 5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5, 1.6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VD03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M-appliance-datastore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omponent OS &amp; Services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8791800"/>
                  </a:ext>
                </a:extLst>
              </a:tr>
              <a:tr h="247463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HDD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2 TB x 8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6 - 13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7 - 1.14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EBR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Active, cloud tiers</a:t>
                      </a:r>
                    </a:p>
                  </a:txBody>
                  <a:tcPr marL="46691" marR="46691" marT="46691" marB="46691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0297432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37663C-E0F0-4935-8781-5536EEEB62E3}"/>
              </a:ext>
            </a:extLst>
          </p:cNvPr>
          <p:cNvGraphicFramePr>
            <a:graphicFrameLocks noGrp="1"/>
          </p:cNvGraphicFramePr>
          <p:nvPr/>
        </p:nvGraphicFramePr>
        <p:xfrm>
          <a:off x="346712" y="3117781"/>
          <a:ext cx="8225789" cy="716280"/>
        </p:xfrm>
        <a:graphic>
          <a:graphicData uri="http://schemas.openxmlformats.org/drawingml/2006/table">
            <a:tbl>
              <a:tblPr/>
              <a:tblGrid>
                <a:gridCol w="567689">
                  <a:extLst>
                    <a:ext uri="{9D8B030D-6E8A-4147-A177-3AD203B41FA5}">
                      <a16:colId xmlns:a16="http://schemas.microsoft.com/office/drawing/2014/main" val="2092492503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1134761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188498211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2235087332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4239785114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3703362849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1243528596"/>
                    </a:ext>
                  </a:extLst>
                </a:gridCol>
                <a:gridCol w="1885950">
                  <a:extLst>
                    <a:ext uri="{9D8B030D-6E8A-4147-A177-3AD203B41FA5}">
                      <a16:colId xmlns:a16="http://schemas.microsoft.com/office/drawing/2014/main" val="2396180765"/>
                    </a:ext>
                  </a:extLst>
                </a:gridCol>
                <a:gridCol w="1885950">
                  <a:extLst>
                    <a:ext uri="{9D8B030D-6E8A-4147-A177-3AD203B41FA5}">
                      <a16:colId xmlns:a16="http://schemas.microsoft.com/office/drawing/2014/main" val="189477795"/>
                    </a:ext>
                  </a:extLst>
                </a:gridCol>
              </a:tblGrid>
              <a:tr h="23876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ount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Typ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apacity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lot(s)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isks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RAID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Virtual Disk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Datastor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Use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804613"/>
                  </a:ext>
                </a:extLst>
              </a:tr>
              <a:tr h="23876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SSD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3.84 TB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4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EBR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Cache tier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9906795"/>
                  </a:ext>
                </a:extLst>
              </a:tr>
              <a:tr h="238760"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HDD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2 TB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4 - 23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1.15 - 1.24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EBR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NA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</a:rPr>
                        <a:t>Active, cloud tiers</a:t>
                      </a:r>
                    </a:p>
                  </a:txBody>
                  <a:tcPr marL="50800" marR="50800" marT="50800" marB="50800">
                    <a:lnL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3A3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9809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6FD7402B-981A-4F27-B40E-5C3E39DDF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406" y="2780847"/>
            <a:ext cx="65705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bg1"/>
                </a:solidFill>
                <a:latin typeface="+mn-ea"/>
                <a:cs typeface="Calibri" panose="020F0502020204030204" pitchFamily="34" charset="0"/>
              </a:rPr>
              <a:t>24TB - 96TB (1 SSD, 10 HDD, Total 11 drives)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E7D3C86-443E-4029-BC61-A326F290B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50" y="685800"/>
            <a:ext cx="65705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bg1"/>
                </a:solidFill>
                <a:latin typeface="+mn-ea"/>
                <a:cs typeface="Calibri" panose="020F0502020204030204" pitchFamily="34" charset="0"/>
              </a:rPr>
              <a:t>12TB – 24TB (3 SSDs, 10 HDDs, Total 13 drives)</a:t>
            </a:r>
          </a:p>
        </p:txBody>
      </p:sp>
    </p:spTree>
    <p:extLst>
      <p:ext uri="{BB962C8B-B14F-4D97-AF65-F5344CB8AC3E}">
        <p14:creationId xmlns:p14="http://schemas.microsoft.com/office/powerpoint/2010/main" val="2399885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F6D124-4EA1-E9AA-2611-6793893FC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864657"/>
            <a:ext cx="6716520" cy="560923"/>
          </a:xfrm>
        </p:spPr>
        <p:txBody>
          <a:bodyPr/>
          <a:lstStyle/>
          <a:p>
            <a:r>
              <a:rPr lang="ja-JP" altLang="en-US" dirty="0"/>
              <a:t>ネットワーク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7D7203-5671-C0FC-73CE-FD7FEE65D5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985128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897E7-3FC9-4B04-AE0D-AB0E41D33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32399"/>
          </a:xfrm>
        </p:spPr>
        <p:txBody>
          <a:bodyPr/>
          <a:lstStyle/>
          <a:p>
            <a:r>
              <a:rPr lang="ja-JP" altLang="en-US"/>
              <a:t>ネットワーク構成の前提条件</a:t>
            </a:r>
            <a:r>
              <a:rPr lang="en-US" altLang="ja-JP"/>
              <a:t>: </a:t>
            </a:r>
            <a:r>
              <a:rPr lang="ja-JP" altLang="en-US"/>
              <a:t>スイッチ接続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01AA727-1CED-43C1-9F35-1E3940A9C7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908094"/>
            <a:ext cx="8572500" cy="3606756"/>
          </a:xfrm>
        </p:spPr>
        <p:txBody>
          <a:bodyPr>
            <a:normAutofit/>
          </a:bodyPr>
          <a:lstStyle/>
          <a:p>
            <a:r>
              <a:rPr lang="en-US" dirty="0"/>
              <a:t>4</a:t>
            </a:r>
            <a:r>
              <a:rPr lang="ja-JP" altLang="en-US" dirty="0"/>
              <a:t>つのアップリンク</a:t>
            </a:r>
            <a:endParaRPr lang="en-US" dirty="0"/>
          </a:p>
          <a:p>
            <a:pPr lvl="1"/>
            <a:r>
              <a:rPr lang="ja-JP" altLang="en-US" dirty="0"/>
              <a:t>管理用 </a:t>
            </a:r>
            <a:r>
              <a:rPr lang="en-US" altLang="ja-JP" dirty="0"/>
              <a:t>x 2</a:t>
            </a:r>
            <a:endParaRPr lang="en-US" dirty="0"/>
          </a:p>
          <a:p>
            <a:pPr lvl="1"/>
            <a:r>
              <a:rPr lang="ja-JP" altLang="en-US" dirty="0"/>
              <a:t>バックアップ用 </a:t>
            </a:r>
            <a:r>
              <a:rPr lang="en-US" altLang="ja-JP" dirty="0"/>
              <a:t>x </a:t>
            </a:r>
            <a:r>
              <a:rPr lang="en-US" dirty="0"/>
              <a:t>2</a:t>
            </a:r>
          </a:p>
          <a:p>
            <a:r>
              <a:rPr lang="ja-JP" altLang="en-US" dirty="0"/>
              <a:t>スイッチ ポートは</a:t>
            </a:r>
            <a:r>
              <a:rPr lang="en-US" altLang="ja-JP" dirty="0"/>
              <a:t>VLAN </a:t>
            </a:r>
            <a:r>
              <a:rPr lang="ja-JP" altLang="en-US" dirty="0"/>
              <a:t>を使用してトランク モードにすることを推奨</a:t>
            </a:r>
            <a:endParaRPr lang="en-US" dirty="0"/>
          </a:p>
          <a:p>
            <a:pPr lvl="1"/>
            <a:r>
              <a:rPr lang="ja-JP" altLang="en-US" dirty="0"/>
              <a:t>マルチ </a:t>
            </a:r>
            <a:r>
              <a:rPr lang="en-US" altLang="ja-JP" dirty="0"/>
              <a:t>VLAN </a:t>
            </a:r>
            <a:r>
              <a:rPr lang="ja-JP" altLang="en-US" dirty="0"/>
              <a:t>構成用のトランク ポート、最大 </a:t>
            </a:r>
            <a:r>
              <a:rPr lang="en-US" altLang="ja-JP" dirty="0"/>
              <a:t>80 </a:t>
            </a:r>
            <a:r>
              <a:rPr lang="ja-JP" altLang="en-US" dirty="0"/>
              <a:t>の </a:t>
            </a:r>
            <a:r>
              <a:rPr lang="en-US" altLang="ja-JP" dirty="0"/>
              <a:t>VLAN</a:t>
            </a:r>
            <a:r>
              <a:rPr lang="ja-JP" altLang="en-US" dirty="0"/>
              <a:t>をサポート</a:t>
            </a:r>
            <a:endParaRPr lang="en-US" altLang="ja-JP" dirty="0"/>
          </a:p>
          <a:p>
            <a:pPr lvl="1"/>
            <a:r>
              <a:rPr lang="ja-JP" altLang="en-US" dirty="0"/>
              <a:t>トランクでネイティブ </a:t>
            </a:r>
            <a:r>
              <a:rPr lang="en-US" altLang="ja-JP" dirty="0"/>
              <a:t>VLAN </a:t>
            </a:r>
            <a:r>
              <a:rPr lang="ja-JP" altLang="en-US" dirty="0"/>
              <a:t>を設定しないでください</a:t>
            </a:r>
          </a:p>
          <a:p>
            <a:pPr lvl="1"/>
            <a:r>
              <a:rPr lang="ja-JP" altLang="en-US" dirty="0"/>
              <a:t>アクセス ポートも機能しますが、単一の </a:t>
            </a:r>
            <a:r>
              <a:rPr lang="en-US" altLang="ja-JP" dirty="0"/>
              <a:t>VLAN </a:t>
            </a:r>
            <a:r>
              <a:rPr lang="ja-JP" altLang="en-US" dirty="0"/>
              <a:t>またはフラット ネットワークでのみ機能します</a:t>
            </a:r>
            <a:endParaRPr lang="en-US" dirty="0"/>
          </a:p>
          <a:p>
            <a:r>
              <a:rPr lang="ja-JP" altLang="en-US" dirty="0"/>
              <a:t>デフォルトの</a:t>
            </a:r>
            <a:r>
              <a:rPr lang="en-US" dirty="0"/>
              <a:t>MTU</a:t>
            </a:r>
            <a:r>
              <a:rPr lang="ja-JP" altLang="en-US" dirty="0"/>
              <a:t>は</a:t>
            </a:r>
            <a:r>
              <a:rPr lang="en-US" dirty="0"/>
              <a:t>1500 </a:t>
            </a:r>
          </a:p>
          <a:p>
            <a:pPr lvl="1"/>
            <a:r>
              <a:rPr lang="en-US" altLang="ja-JP" dirty="0"/>
              <a:t>9000 MTU </a:t>
            </a:r>
            <a:r>
              <a:rPr lang="ja-JP" altLang="en-US" dirty="0"/>
              <a:t>は将来のリリースでサポートされる予定</a:t>
            </a:r>
            <a:endParaRPr lang="en-US" dirty="0"/>
          </a:p>
          <a:p>
            <a:r>
              <a:rPr lang="en-US" dirty="0"/>
              <a:t>Bonding</a:t>
            </a:r>
            <a:r>
              <a:rPr lang="ja-JP" altLang="en-US" dirty="0"/>
              <a:t>オプションのサポート</a:t>
            </a:r>
            <a:endParaRPr lang="en-US" dirty="0"/>
          </a:p>
          <a:p>
            <a:pPr lvl="1"/>
            <a:r>
              <a:rPr lang="en-US" dirty="0"/>
              <a:t>Active-Active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Active-standby &amp; LACP</a:t>
            </a:r>
            <a:r>
              <a:rPr lang="ja-JP" altLang="en-US" dirty="0">
                <a:solidFill>
                  <a:srgbClr val="FF0000"/>
                </a:solidFill>
              </a:rPr>
              <a:t>（将来のリリース。現時点ではサポートしていません）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832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CAF97A7D-138D-4DCB-AA66-A07421AA24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531" r="-107"/>
          <a:stretch/>
        </p:blipFill>
        <p:spPr>
          <a:xfrm>
            <a:off x="3" y="-25628"/>
            <a:ext cx="9153922" cy="642026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8E6A537D-B888-4311-AE70-3586BF7C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31053"/>
            <a:ext cx="8572500" cy="332399"/>
          </a:xfrm>
        </p:spPr>
        <p:txBody>
          <a:bodyPr vert="horz"/>
          <a:lstStyle/>
          <a:p>
            <a:r>
              <a:rPr lang="en-US" err="1">
                <a:solidFill>
                  <a:schemeClr val="tx2"/>
                </a:solidFill>
              </a:rPr>
              <a:t>PowerProtect</a:t>
            </a:r>
            <a:r>
              <a:rPr lang="en-US">
                <a:solidFill>
                  <a:schemeClr val="tx2"/>
                </a:solidFill>
              </a:rPr>
              <a:t> DM5500</a:t>
            </a:r>
            <a:r>
              <a:rPr lang="ja-JP" altLang="en-US">
                <a:solidFill>
                  <a:schemeClr val="tx2"/>
                </a:solidFill>
              </a:rPr>
              <a:t> 接続用のネットワーク ポート</a:t>
            </a:r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8BADF3A-89E3-480B-B5A3-B7267807978E}"/>
              </a:ext>
            </a:extLst>
          </p:cNvPr>
          <p:cNvGrpSpPr/>
          <p:nvPr/>
        </p:nvGrpSpPr>
        <p:grpSpPr>
          <a:xfrm>
            <a:off x="359736" y="1382592"/>
            <a:ext cx="3012359" cy="1934956"/>
            <a:chOff x="4998208" y="995478"/>
            <a:chExt cx="4145792" cy="463266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EED59A1-1F4F-48E9-8EA9-AA04121EB576}"/>
                </a:ext>
              </a:extLst>
            </p:cNvPr>
            <p:cNvSpPr txBox="1"/>
            <p:nvPr/>
          </p:nvSpPr>
          <p:spPr>
            <a:xfrm>
              <a:off x="4998208" y="995478"/>
              <a:ext cx="4145792" cy="4632668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t"/>
            <a:lstStyle>
              <a:defPPr>
                <a:defRPr lang="en-US"/>
              </a:defPPr>
              <a:lvl1pPr defTabSz="684213">
                <a:defRPr sz="1000" b="1">
                  <a:solidFill>
                    <a:schemeClr val="bg1"/>
                  </a:solidFill>
                  <a:latin typeface="Arial"/>
                  <a:cs typeface="Arial"/>
                </a:defRPr>
              </a:lvl1pPr>
              <a:lvl2pPr marL="742950" indent="-285750" defTabSz="684213">
                <a:defRPr sz="1300">
                  <a:latin typeface="Arial" panose="020B0604020202020204" pitchFamily="34" charset="0"/>
                </a:defRPr>
              </a:lvl2pPr>
              <a:lvl3pPr marL="1143000" indent="-228600" defTabSz="684213">
                <a:defRPr sz="1300">
                  <a:latin typeface="Arial" panose="020B0604020202020204" pitchFamily="34" charset="0"/>
                </a:defRPr>
              </a:lvl3pPr>
              <a:lvl4pPr marL="1600200" indent="-228600" defTabSz="684213">
                <a:defRPr sz="1300">
                  <a:latin typeface="Arial" panose="020B0604020202020204" pitchFamily="34" charset="0"/>
                </a:defRPr>
              </a:lvl4pPr>
              <a:lvl5pPr marL="2057400" indent="-228600" defTabSz="684213">
                <a:defRPr sz="1300">
                  <a:latin typeface="Arial" panose="020B0604020202020204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9pPr>
            </a:lstStyle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</p:txBody>
        </p:sp>
        <p:sp>
          <p:nvSpPr>
            <p:cNvPr id="36" name="Left-Right Arrow 33">
              <a:extLst>
                <a:ext uri="{FF2B5EF4-FFF2-40B4-BE49-F238E27FC236}">
                  <a16:creationId xmlns:a16="http://schemas.microsoft.com/office/drawing/2014/main" id="{100049F1-7F56-4E19-82B6-73A75BE8FB07}"/>
                </a:ext>
              </a:extLst>
            </p:cNvPr>
            <p:cNvSpPr/>
            <p:nvPr/>
          </p:nvSpPr>
          <p:spPr>
            <a:xfrm rot="10800000">
              <a:off x="5000622" y="1004183"/>
              <a:ext cx="4135397" cy="956513"/>
            </a:xfrm>
            <a:prstGeom prst="rect">
              <a:avLst/>
            </a:prstGeom>
            <a:gradFill>
              <a:gsLst>
                <a:gs pos="48000">
                  <a:schemeClr val="bg1"/>
                </a:gs>
                <a:gs pos="100000">
                  <a:schemeClr val="bg1">
                    <a:lumMod val="60000"/>
                    <a:lumOff val="40000"/>
                  </a:schemeClr>
                </a:gs>
              </a:gsLst>
              <a:lin ang="16200000" scaled="1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49">
                <a:defRPr/>
              </a:pPr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7FC6CE6-0EB4-428F-B21D-207818ABD000}"/>
              </a:ext>
            </a:extLst>
          </p:cNvPr>
          <p:cNvSpPr txBox="1"/>
          <p:nvPr/>
        </p:nvSpPr>
        <p:spPr>
          <a:xfrm>
            <a:off x="354393" y="1963542"/>
            <a:ext cx="2967702" cy="1223412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marL="169541" indent="-169541" defTabSz="685732">
              <a:spcBef>
                <a:spcPts val="300"/>
              </a:spcBef>
              <a:spcAft>
                <a:spcPts val="300"/>
              </a:spcAft>
              <a:buClr>
                <a:srgbClr val="444444">
                  <a:lumMod val="60000"/>
                  <a:lumOff val="40000"/>
                </a:srgbClr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ネットワーク アップリンク接続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: NIC PCIe1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と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  </a:t>
            </a:r>
            <a:br>
              <a:rPr lang="en-US" altLang="ja-JP" sz="1200" dirty="0">
                <a:solidFill>
                  <a:srgbClr val="000000"/>
                </a:solidFill>
                <a:latin typeface="Arial"/>
              </a:rPr>
            </a:b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                                         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NIC PCIe4</a:t>
            </a:r>
          </a:p>
          <a:p>
            <a:pPr marL="169541" indent="-169541" defTabSz="685732">
              <a:spcBef>
                <a:spcPts val="300"/>
              </a:spcBef>
              <a:spcAft>
                <a:spcPts val="300"/>
              </a:spcAft>
              <a:buClr>
                <a:srgbClr val="444444">
                  <a:lumMod val="60000"/>
                  <a:lumOff val="40000"/>
                </a:srgbClr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管理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: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各 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NIC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のポート 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1</a:t>
            </a:r>
          </a:p>
          <a:p>
            <a:pPr marL="169541" indent="-169541" defTabSz="685732">
              <a:spcBef>
                <a:spcPts val="300"/>
              </a:spcBef>
              <a:spcAft>
                <a:spcPts val="300"/>
              </a:spcAft>
              <a:buClr>
                <a:srgbClr val="444444">
                  <a:lumMod val="60000"/>
                  <a:lumOff val="40000"/>
                </a:srgbClr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データ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: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各 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NIC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のポート </a:t>
            </a: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2</a:t>
            </a:r>
          </a:p>
          <a:p>
            <a:pPr marL="169541" indent="-169541" defTabSz="685732">
              <a:spcBef>
                <a:spcPts val="300"/>
              </a:spcBef>
              <a:spcAft>
                <a:spcPts val="300"/>
              </a:spcAft>
              <a:buClr>
                <a:srgbClr val="444444">
                  <a:lumMod val="60000"/>
                  <a:lumOff val="40000"/>
                </a:srgbClr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altLang="ja-JP" sz="1200" dirty="0">
                <a:solidFill>
                  <a:srgbClr val="000000"/>
                </a:solidFill>
                <a:latin typeface="Arial"/>
              </a:rPr>
              <a:t>iDRAC &amp; </a:t>
            </a:r>
            <a:r>
              <a:rPr lang="ja-JP" altLang="en-US" sz="1200" dirty="0">
                <a:solidFill>
                  <a:srgbClr val="000000"/>
                </a:solidFill>
                <a:latin typeface="Arial"/>
              </a:rPr>
              <a:t>サービス ポートも利用可能</a:t>
            </a:r>
            <a:endParaRPr lang="en-US" sz="12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947FF1D-E91C-40CF-AEA3-0D698D846B18}"/>
              </a:ext>
            </a:extLst>
          </p:cNvPr>
          <p:cNvSpPr txBox="1"/>
          <p:nvPr/>
        </p:nvSpPr>
        <p:spPr>
          <a:xfrm>
            <a:off x="332928" y="1496480"/>
            <a:ext cx="3010634" cy="132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514277">
              <a:lnSpc>
                <a:spcPct val="85000"/>
              </a:lnSpc>
              <a:defRPr/>
            </a:pPr>
            <a:r>
              <a:rPr lang="en-US" sz="1013" b="1" spc="150">
                <a:solidFill>
                  <a:srgbClr val="FFFFFF"/>
                </a:solidFill>
                <a:latin typeface="Arial"/>
              </a:rPr>
              <a:t>Key Feature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155C248-C9AD-4BFD-A25C-D3C2B37CA2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8135" y="3142145"/>
            <a:ext cx="4852850" cy="183453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DEDCC982-AB06-46E3-84FC-B05B9433CF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1949" y="1069233"/>
            <a:ext cx="4527230" cy="1702388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29CD1083-6C54-4443-A33C-77A32ADB7E77}"/>
              </a:ext>
            </a:extLst>
          </p:cNvPr>
          <p:cNvSpPr txBox="1"/>
          <p:nvPr/>
        </p:nvSpPr>
        <p:spPr>
          <a:xfrm>
            <a:off x="4389613" y="727362"/>
            <a:ext cx="3595388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49">
              <a:defRPr/>
            </a:pPr>
            <a:r>
              <a:rPr lang="en-US" sz="1500" u="sng">
                <a:solidFill>
                  <a:srgbClr val="0070C0"/>
                </a:solidFill>
                <a:latin typeface="Arial"/>
              </a:rPr>
              <a:t>Optical &amp; Twinax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2645212-7BF0-4FB2-ABC9-07AC494FB399}"/>
              </a:ext>
            </a:extLst>
          </p:cNvPr>
          <p:cNvSpPr txBox="1"/>
          <p:nvPr/>
        </p:nvSpPr>
        <p:spPr>
          <a:xfrm>
            <a:off x="4432826" y="2841467"/>
            <a:ext cx="380635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49">
              <a:defRPr/>
            </a:pPr>
            <a:r>
              <a:rPr lang="en-US" sz="1500" u="sng">
                <a:solidFill>
                  <a:srgbClr val="0070C0"/>
                </a:solidFill>
                <a:latin typeface="Arial"/>
              </a:rPr>
              <a:t>Copper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3E496FB-D33E-440C-BB9F-6675A7F33933}"/>
              </a:ext>
            </a:extLst>
          </p:cNvPr>
          <p:cNvCxnSpPr/>
          <p:nvPr/>
        </p:nvCxnSpPr>
        <p:spPr>
          <a:xfrm>
            <a:off x="3494315" y="2771620"/>
            <a:ext cx="54864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04386C68-F90D-4187-BD13-935E3BAD837D}"/>
              </a:ext>
            </a:extLst>
          </p:cNvPr>
          <p:cNvSpPr/>
          <p:nvPr/>
        </p:nvSpPr>
        <p:spPr>
          <a:xfrm>
            <a:off x="7600951" y="2947602"/>
            <a:ext cx="1379765" cy="36307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900">
                <a:solidFill>
                  <a:schemeClr val="bg2"/>
                </a:solidFill>
              </a:rPr>
              <a:t>10GBase-T</a:t>
            </a:r>
            <a:endParaRPr kumimoji="1" lang="ja-JP" altLang="en-US" sz="900">
              <a:solidFill>
                <a:schemeClr val="bg2"/>
              </a:solidFill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A896900D-B498-467E-92FE-858DCEF87BDE}"/>
              </a:ext>
            </a:extLst>
          </p:cNvPr>
          <p:cNvSpPr/>
          <p:nvPr/>
        </p:nvSpPr>
        <p:spPr>
          <a:xfrm>
            <a:off x="7600951" y="790746"/>
            <a:ext cx="1379765" cy="36307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900">
                <a:solidFill>
                  <a:schemeClr val="bg2"/>
                </a:solidFill>
              </a:rPr>
              <a:t>10GbE/25GbE-SFP+</a:t>
            </a:r>
            <a:endParaRPr kumimoji="1" lang="ja-JP" altLang="en-US" sz="900">
              <a:solidFill>
                <a:schemeClr val="bg2"/>
              </a:solidFill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67B364A6-8C60-45EE-9350-87C93ABA0CB7}"/>
              </a:ext>
            </a:extLst>
          </p:cNvPr>
          <p:cNvSpPr txBox="1"/>
          <p:nvPr/>
        </p:nvSpPr>
        <p:spPr>
          <a:xfrm>
            <a:off x="327770" y="3559183"/>
            <a:ext cx="36727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>
                <a:solidFill>
                  <a:srgbClr val="FF0000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インターフェースは同じ種類しか選択できません</a:t>
            </a:r>
            <a:endParaRPr lang="ja-JP" altLang="en-US" sz="18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189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D6C4854-4ED6-3DE9-72A3-495F11F44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アップリンク構成</a:t>
            </a:r>
          </a:p>
        </p:txBody>
      </p:sp>
      <p:pic>
        <p:nvPicPr>
          <p:cNvPr id="6" name="コンテンツ プレースホルダー 5" descr="ダイアグラム&#10;&#10;自動的に生成された説明">
            <a:extLst>
              <a:ext uri="{FF2B5EF4-FFF2-40B4-BE49-F238E27FC236}">
                <a16:creationId xmlns:a16="http://schemas.microsoft.com/office/drawing/2014/main" id="{3DA154C2-F612-0398-B08D-51C6C8C3C9AB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061610" y="843558"/>
            <a:ext cx="3140963" cy="2592288"/>
          </a:xfrm>
        </p:spPr>
      </p:pic>
      <p:pic>
        <p:nvPicPr>
          <p:cNvPr id="8" name="コンテンツ プレースホルダー 7" descr="ダイアグラム&#10;&#10;自動的に生成された説明">
            <a:extLst>
              <a:ext uri="{FF2B5EF4-FFF2-40B4-BE49-F238E27FC236}">
                <a16:creationId xmlns:a16="http://schemas.microsoft.com/office/drawing/2014/main" id="{2C2776E7-791F-C7F6-8A35-82208285BB76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5004048" y="789552"/>
            <a:ext cx="3078342" cy="2610244"/>
          </a:xfrm>
        </p:spPr>
      </p:pic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5B147D0-7D45-F432-A1DE-A2D3BEF77DEF}"/>
              </a:ext>
            </a:extLst>
          </p:cNvPr>
          <p:cNvSpPr txBox="1"/>
          <p:nvPr/>
        </p:nvSpPr>
        <p:spPr>
          <a:xfrm>
            <a:off x="791580" y="2423233"/>
            <a:ext cx="115187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dirty="0">
                <a:solidFill>
                  <a:srgbClr val="000000"/>
                </a:solidFill>
                <a:latin typeface="Arial"/>
              </a:rPr>
              <a:t>NIC PCIe1</a:t>
            </a:r>
            <a:endParaRPr lang="ja-JP" altLang="en-US" sz="1013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26F93A2-0F82-CE99-0D42-E692EC533ACD}"/>
              </a:ext>
            </a:extLst>
          </p:cNvPr>
          <p:cNvSpPr txBox="1"/>
          <p:nvPr/>
        </p:nvSpPr>
        <p:spPr>
          <a:xfrm>
            <a:off x="3329862" y="2423233"/>
            <a:ext cx="115187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dirty="0">
                <a:solidFill>
                  <a:srgbClr val="000000"/>
                </a:solidFill>
                <a:latin typeface="Arial"/>
              </a:rPr>
              <a:t>NIC PCIe4</a:t>
            </a:r>
            <a:endParaRPr lang="ja-JP" altLang="en-US" sz="1013" dirty="0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3B9BF51-4358-029D-D6F8-8D1D4C789969}"/>
              </a:ext>
            </a:extLst>
          </p:cNvPr>
          <p:cNvSpPr txBox="1"/>
          <p:nvPr/>
        </p:nvSpPr>
        <p:spPr>
          <a:xfrm>
            <a:off x="4788024" y="2423233"/>
            <a:ext cx="115187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dirty="0">
                <a:solidFill>
                  <a:srgbClr val="000000"/>
                </a:solidFill>
                <a:latin typeface="Arial"/>
              </a:rPr>
              <a:t>NIC PCIe1</a:t>
            </a:r>
            <a:endParaRPr lang="ja-JP" altLang="en-US" sz="1013" dirty="0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DF9E53B-297D-F9B8-1C9B-CCCB860153F2}"/>
              </a:ext>
            </a:extLst>
          </p:cNvPr>
          <p:cNvSpPr txBox="1"/>
          <p:nvPr/>
        </p:nvSpPr>
        <p:spPr>
          <a:xfrm>
            <a:off x="7326306" y="2423233"/>
            <a:ext cx="115187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dirty="0">
                <a:solidFill>
                  <a:srgbClr val="000000"/>
                </a:solidFill>
                <a:latin typeface="Arial"/>
              </a:rPr>
              <a:t>NIC PCIe4</a:t>
            </a:r>
            <a:endParaRPr lang="ja-JP" altLang="en-US" sz="1013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BF7DEDD-AF59-744C-913F-BB18DB940BF1}"/>
              </a:ext>
            </a:extLst>
          </p:cNvPr>
          <p:cNvSpPr txBox="1"/>
          <p:nvPr/>
        </p:nvSpPr>
        <p:spPr>
          <a:xfrm>
            <a:off x="629562" y="3489852"/>
            <a:ext cx="7992888" cy="773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ja-JP" altLang="en-US" sz="1013" dirty="0">
                <a:solidFill>
                  <a:schemeClr val="bg2"/>
                </a:solidFill>
              </a:rPr>
              <a:t>4 つのネットワーク接続のうち、2 つは管理トラフィックに使用され、2 つはバックアップ トラフィックに使用されます。</a:t>
            </a:r>
            <a:endParaRPr lang="en-US" altLang="ja-JP" sz="1013" dirty="0">
              <a:solidFill>
                <a:schemeClr val="bg2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ja-JP" altLang="en-US" sz="1013" dirty="0">
                <a:solidFill>
                  <a:schemeClr val="bg2"/>
                </a:solidFill>
              </a:rPr>
              <a:t>管理トラフィックとバックアップ トラフィックを分離したい場合は、適切な </a:t>
            </a:r>
            <a:r>
              <a:rPr lang="en-US" altLang="ja-JP" sz="1013" dirty="0">
                <a:solidFill>
                  <a:schemeClr val="bg2"/>
                </a:solidFill>
              </a:rPr>
              <a:t>VLAN </a:t>
            </a:r>
            <a:r>
              <a:rPr lang="ja-JP" altLang="en-US" sz="1013" dirty="0">
                <a:solidFill>
                  <a:schemeClr val="bg2"/>
                </a:solidFill>
              </a:rPr>
              <a:t>構成でスイッチ ポートに接続する必要があります。</a:t>
            </a:r>
            <a:endParaRPr lang="en-US" altLang="ja-JP" sz="1013" dirty="0">
              <a:solidFill>
                <a:schemeClr val="bg2"/>
              </a:solidFill>
            </a:endParaRPr>
          </a:p>
          <a:p>
            <a:pPr marL="557204" lvl="1" indent="-214313">
              <a:buFont typeface="Arial" panose="020B0604020202020204" pitchFamily="34" charset="0"/>
              <a:buChar char="̶"/>
            </a:pPr>
            <a:r>
              <a:rPr lang="en-US" altLang="ja-JP" sz="1200" dirty="0">
                <a:solidFill>
                  <a:schemeClr val="bg2"/>
                </a:solidFill>
              </a:rPr>
              <a:t>NIC PCIe1</a:t>
            </a:r>
            <a:r>
              <a:rPr lang="ja-JP" altLang="en-US" sz="1200" dirty="0">
                <a:solidFill>
                  <a:schemeClr val="bg2"/>
                </a:solidFill>
              </a:rPr>
              <a:t>ポート </a:t>
            </a:r>
            <a:r>
              <a:rPr lang="en-US" altLang="ja-JP" sz="1200" dirty="0">
                <a:solidFill>
                  <a:schemeClr val="bg2"/>
                </a:solidFill>
              </a:rPr>
              <a:t>1 </a:t>
            </a:r>
            <a:r>
              <a:rPr lang="ja-JP" altLang="en-US" sz="1200" dirty="0">
                <a:solidFill>
                  <a:schemeClr val="bg2"/>
                </a:solidFill>
              </a:rPr>
              <a:t>と </a:t>
            </a:r>
            <a:r>
              <a:rPr lang="en-US" altLang="ja-JP" sz="1200" dirty="0">
                <a:solidFill>
                  <a:schemeClr val="bg2"/>
                </a:solidFill>
              </a:rPr>
              <a:t>NIC PCIe4 </a:t>
            </a:r>
            <a:r>
              <a:rPr lang="ja-JP" altLang="en-US" sz="1200" dirty="0">
                <a:solidFill>
                  <a:schemeClr val="bg2"/>
                </a:solidFill>
              </a:rPr>
              <a:t>ポート </a:t>
            </a:r>
            <a:r>
              <a:rPr lang="en-US" altLang="ja-JP" sz="1200" dirty="0">
                <a:solidFill>
                  <a:schemeClr val="bg2"/>
                </a:solidFill>
              </a:rPr>
              <a:t>1 </a:t>
            </a:r>
            <a:r>
              <a:rPr lang="ja-JP" altLang="en-US" sz="1200" dirty="0">
                <a:solidFill>
                  <a:schemeClr val="bg2"/>
                </a:solidFill>
              </a:rPr>
              <a:t>は管理 </a:t>
            </a:r>
            <a:r>
              <a:rPr lang="en-US" altLang="ja-JP" sz="1200" dirty="0">
                <a:solidFill>
                  <a:schemeClr val="bg2"/>
                </a:solidFill>
              </a:rPr>
              <a:t>VLAN/</a:t>
            </a:r>
            <a:r>
              <a:rPr lang="ja-JP" altLang="en-US" sz="1200" dirty="0">
                <a:solidFill>
                  <a:schemeClr val="bg2"/>
                </a:solidFill>
              </a:rPr>
              <a:t>スイッチ ポートに接続され、</a:t>
            </a:r>
            <a:r>
              <a:rPr lang="en-US" altLang="ja-JP" sz="1200" dirty="0">
                <a:solidFill>
                  <a:schemeClr val="bg2"/>
                </a:solidFill>
              </a:rPr>
              <a:t> </a:t>
            </a:r>
            <a:br>
              <a:rPr lang="en-US" altLang="ja-JP" sz="1200" dirty="0">
                <a:solidFill>
                  <a:schemeClr val="bg2"/>
                </a:solidFill>
              </a:rPr>
            </a:br>
            <a:r>
              <a:rPr lang="en-US" altLang="ja-JP" sz="1200" dirty="0">
                <a:solidFill>
                  <a:schemeClr val="bg2"/>
                </a:solidFill>
              </a:rPr>
              <a:t>NIC PCIe1</a:t>
            </a:r>
            <a:r>
              <a:rPr lang="ja-JP" altLang="en-US" sz="1200" dirty="0">
                <a:solidFill>
                  <a:schemeClr val="bg2"/>
                </a:solidFill>
              </a:rPr>
              <a:t>ポート </a:t>
            </a:r>
            <a:r>
              <a:rPr lang="en-US" altLang="ja-JP" sz="1200" dirty="0">
                <a:solidFill>
                  <a:schemeClr val="bg2"/>
                </a:solidFill>
              </a:rPr>
              <a:t>2 </a:t>
            </a:r>
            <a:r>
              <a:rPr lang="ja-JP" altLang="en-US" sz="1200" dirty="0">
                <a:solidFill>
                  <a:schemeClr val="bg2"/>
                </a:solidFill>
              </a:rPr>
              <a:t>と </a:t>
            </a:r>
            <a:r>
              <a:rPr lang="en-US" altLang="ja-JP" sz="1200" dirty="0">
                <a:solidFill>
                  <a:schemeClr val="bg2"/>
                </a:solidFill>
              </a:rPr>
              <a:t>NIC PCIe4 </a:t>
            </a:r>
            <a:r>
              <a:rPr lang="ja-JP" altLang="en-US" sz="1200" dirty="0">
                <a:solidFill>
                  <a:schemeClr val="bg2"/>
                </a:solidFill>
              </a:rPr>
              <a:t>ポート </a:t>
            </a:r>
            <a:r>
              <a:rPr lang="en-US" altLang="ja-JP" sz="1200" dirty="0">
                <a:solidFill>
                  <a:schemeClr val="bg2"/>
                </a:solidFill>
              </a:rPr>
              <a:t>2 </a:t>
            </a:r>
            <a:r>
              <a:rPr lang="ja-JP" altLang="en-US" sz="1200" dirty="0">
                <a:solidFill>
                  <a:schemeClr val="bg2"/>
                </a:solidFill>
              </a:rPr>
              <a:t>はデータ </a:t>
            </a:r>
            <a:r>
              <a:rPr lang="en-US" altLang="ja-JP" sz="1200" dirty="0">
                <a:solidFill>
                  <a:schemeClr val="bg2"/>
                </a:solidFill>
              </a:rPr>
              <a:t>VLAN/</a:t>
            </a:r>
            <a:r>
              <a:rPr lang="ja-JP" altLang="en-US" sz="1200" dirty="0">
                <a:solidFill>
                  <a:schemeClr val="bg2"/>
                </a:solidFill>
              </a:rPr>
              <a:t>スイッチ ポートに接続します</a:t>
            </a:r>
          </a:p>
        </p:txBody>
      </p:sp>
    </p:spTree>
    <p:extLst>
      <p:ext uri="{BB962C8B-B14F-4D97-AF65-F5344CB8AC3E}">
        <p14:creationId xmlns:p14="http://schemas.microsoft.com/office/powerpoint/2010/main" val="24997088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4DF828-9885-46DA-8878-6EEC54056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500" y="249102"/>
            <a:ext cx="8577263" cy="332399"/>
          </a:xfrm>
        </p:spPr>
        <p:txBody>
          <a:bodyPr/>
          <a:lstStyle/>
          <a:p>
            <a:r>
              <a:rPr lang="ja-JP" altLang="en-US"/>
              <a:t>インターフェイスと </a:t>
            </a:r>
            <a:r>
              <a:rPr lang="en-US" altLang="ja-JP"/>
              <a:t>IP</a:t>
            </a:r>
            <a:endParaRPr lang="en-US"/>
          </a:p>
        </p:txBody>
      </p:sp>
      <p:graphicFrame>
        <p:nvGraphicFramePr>
          <p:cNvPr id="5" name="Table 10">
            <a:extLst>
              <a:ext uri="{FF2B5EF4-FFF2-40B4-BE49-F238E27FC236}">
                <a16:creationId xmlns:a16="http://schemas.microsoft.com/office/drawing/2014/main" id="{317BC588-78CC-4D46-9FC7-AC347001F149}"/>
              </a:ext>
            </a:extLst>
          </p:cNvPr>
          <p:cNvGraphicFramePr>
            <a:graphicFrameLocks noGrp="1"/>
          </p:cNvGraphicFramePr>
          <p:nvPr/>
        </p:nvGraphicFramePr>
        <p:xfrm>
          <a:off x="462499" y="1214768"/>
          <a:ext cx="8351524" cy="165190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743989">
                  <a:extLst>
                    <a:ext uri="{9D8B030D-6E8A-4147-A177-3AD203B41FA5}">
                      <a16:colId xmlns:a16="http://schemas.microsoft.com/office/drawing/2014/main" val="2039438492"/>
                    </a:ext>
                  </a:extLst>
                </a:gridCol>
                <a:gridCol w="2999630">
                  <a:extLst>
                    <a:ext uri="{9D8B030D-6E8A-4147-A177-3AD203B41FA5}">
                      <a16:colId xmlns:a16="http://schemas.microsoft.com/office/drawing/2014/main" val="673076153"/>
                    </a:ext>
                  </a:extLst>
                </a:gridCol>
                <a:gridCol w="3607905">
                  <a:extLst>
                    <a:ext uri="{9D8B030D-6E8A-4147-A177-3AD203B41FA5}">
                      <a16:colId xmlns:a16="http://schemas.microsoft.com/office/drawing/2014/main" val="2480246415"/>
                    </a:ext>
                  </a:extLst>
                </a:gridCol>
              </a:tblGrid>
              <a:tr h="282699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000" b="1" kern="120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Copper </a:t>
                      </a:r>
                      <a:r>
                        <a:rPr lang="en-US" sz="1000" b="0" kern="120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(RJ45 / 10G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Optical </a:t>
                      </a:r>
                      <a:r>
                        <a:rPr 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00" b="0" i="0" u="none" strike="noStrike" kern="1200" baseline="0" err="1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Twinax</a:t>
                      </a:r>
                      <a:r>
                        <a:rPr 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 / SFP28 / 10Gb/25Gb / SFP+ 10Gb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727256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カードとポート</a:t>
                      </a:r>
                      <a:endParaRPr lang="en-US" sz="1000" b="0" i="0" u="none" strike="noStrike" kern="1200" baseline="0">
                        <a:solidFill>
                          <a:schemeClr val="bg2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ja-JP" alt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カード／</a:t>
                      </a:r>
                      <a:r>
                        <a:rPr lang="en-US" altLang="ja-JP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ja-JP" alt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ポート</a:t>
                      </a:r>
                      <a:endParaRPr lang="en-US" altLang="ja-JP" sz="100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ja-JP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2</a:t>
                      </a:r>
                      <a:r>
                        <a:rPr lang="ja-JP" alt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カード／</a:t>
                      </a:r>
                      <a:r>
                        <a:rPr lang="en-US" altLang="ja-JP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ja-JP" alt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ポート</a:t>
                      </a:r>
                      <a:endParaRPr lang="en-US" altLang="ja-JP" sz="100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4825664"/>
                  </a:ext>
                </a:extLst>
              </a:tr>
              <a:tr h="33147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ケーブル数 </a:t>
                      </a:r>
                      <a:r>
                        <a:rPr lang="en-US" altLang="ja-JP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ja-JP" sz="1000" b="0" i="0" u="none" strike="noStrike" kern="1200" baseline="0" err="1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iDrac</a:t>
                      </a:r>
                      <a:r>
                        <a:rPr lang="en-US" altLang="ja-JP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 </a:t>
                      </a:r>
                      <a:r>
                        <a:rPr lang="ja-JP" alt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を除く</a:t>
                      </a:r>
                      <a:r>
                        <a:rPr lang="en-US" altLang="ja-JP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)</a:t>
                      </a:r>
                      <a:endParaRPr lang="en-US" sz="1000" b="0" i="0" u="none" strike="noStrike" kern="1200" baseline="0">
                        <a:solidFill>
                          <a:schemeClr val="bg2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strike="noStrike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0129362"/>
                  </a:ext>
                </a:extLst>
              </a:tr>
              <a:tr h="24525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i="0" kern="1200">
                          <a:solidFill>
                            <a:schemeClr val="bg2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ポート構成</a:t>
                      </a:r>
                      <a:endParaRPr lang="en-US" sz="1000" b="0" i="0" kern="1200">
                        <a:solidFill>
                          <a:schemeClr val="bg2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Active/Active (no-LACP) 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Active/Active (no-LACP) 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097048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IP </a:t>
                      </a:r>
                      <a:r>
                        <a:rPr lang="ja-JP" altLang="en-US" sz="1000" b="0" i="0" u="none" strike="noStrike" kern="1200" baseline="0">
                          <a:solidFill>
                            <a:schemeClr val="bg2"/>
                          </a:solidFill>
                          <a:latin typeface="+mn-ea"/>
                          <a:ea typeface="+mn-ea"/>
                          <a:cs typeface="+mn-cs"/>
                        </a:rPr>
                        <a:t>アドレス数</a:t>
                      </a:r>
                      <a:endParaRPr lang="en-US" sz="1000" b="0" i="0" u="none" strike="noStrike" kern="1200" baseline="0">
                        <a:solidFill>
                          <a:schemeClr val="bg2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最小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3</a:t>
                      </a:r>
                      <a:r>
                        <a:rPr 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管理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x 1</a:t>
                      </a:r>
                      <a:r>
                        <a:rPr 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 +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データ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x 2</a:t>
                      </a:r>
                      <a:endParaRPr lang="en-US" sz="1000" dirty="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VLAN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ごとに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2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つのデータ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IP</a:t>
                      </a:r>
                      <a:r>
                        <a:rPr 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algn="l"/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最大</a:t>
                      </a:r>
                      <a:r>
                        <a:rPr 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: 80 </a:t>
                      </a:r>
                      <a:r>
                        <a:rPr lang="en-US" sz="1000" dirty="0" err="1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vlans</a:t>
                      </a:r>
                      <a:endParaRPr lang="en-US" sz="1000" dirty="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最小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3: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管理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x 1 +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データ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x 2</a:t>
                      </a:r>
                    </a:p>
                    <a:p>
                      <a:pPr algn="l"/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(VLAN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ごとに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2 </a:t>
                      </a:r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つのデータ 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IP)</a:t>
                      </a:r>
                    </a:p>
                    <a:p>
                      <a:pPr algn="l"/>
                      <a:r>
                        <a:rPr lang="ja-JP" altLang="en-US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最大</a:t>
                      </a:r>
                      <a:r>
                        <a:rPr lang="en-US" altLang="ja-JP" sz="1000" dirty="0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: 80 </a:t>
                      </a:r>
                      <a:r>
                        <a:rPr lang="en-US" altLang="ja-JP" sz="1000" dirty="0" err="1">
                          <a:solidFill>
                            <a:schemeClr val="bg2"/>
                          </a:solidFill>
                          <a:latin typeface="+mn-ea"/>
                          <a:ea typeface="+mn-ea"/>
                        </a:rPr>
                        <a:t>vlans</a:t>
                      </a:r>
                      <a:endParaRPr lang="en-US" altLang="ja-JP" sz="1000" dirty="0">
                        <a:solidFill>
                          <a:schemeClr val="bg2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7294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07EDCB1-3E22-4476-B36C-E9CC223F4EEA}"/>
              </a:ext>
            </a:extLst>
          </p:cNvPr>
          <p:cNvSpPr txBox="1"/>
          <p:nvPr/>
        </p:nvSpPr>
        <p:spPr>
          <a:xfrm rot="16200000">
            <a:off x="2516193" y="1104140"/>
            <a:ext cx="677108" cy="468079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rgbClr val="FF0000"/>
                </a:solidFill>
              </a:rPr>
              <a:t>Active/Passive, LACP</a:t>
            </a:r>
            <a:r>
              <a:rPr lang="ja-JP" altLang="en-US" sz="1100" dirty="0">
                <a:solidFill>
                  <a:srgbClr val="FF0000"/>
                </a:solidFill>
              </a:rPr>
              <a:t>は将来のリリースで対応予定です。</a:t>
            </a:r>
            <a:endParaRPr lang="en-US" altLang="ja-JP" sz="1100" dirty="0">
              <a:solidFill>
                <a:srgbClr val="FF0000"/>
              </a:solidFill>
            </a:endParaRP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rgbClr val="FF0000"/>
                </a:solidFill>
              </a:rPr>
              <a:t>スイッチポートがトランクモードの場合、導入時に</a:t>
            </a:r>
            <a:r>
              <a:rPr lang="en-US" altLang="ja-JP" sz="1100" dirty="0">
                <a:solidFill>
                  <a:srgbClr val="FF0000"/>
                </a:solidFill>
              </a:rPr>
              <a:t>VLAN</a:t>
            </a:r>
            <a:r>
              <a:rPr lang="ja-JP" altLang="en-US" sz="1100" dirty="0">
                <a:solidFill>
                  <a:srgbClr val="FF0000"/>
                </a:solidFill>
              </a:rPr>
              <a:t> </a:t>
            </a:r>
            <a:r>
              <a:rPr lang="en-US" altLang="ja-JP" sz="1100" dirty="0">
                <a:solidFill>
                  <a:srgbClr val="FF0000"/>
                </a:solidFill>
              </a:rPr>
              <a:t>ID</a:t>
            </a:r>
            <a:r>
              <a:rPr lang="ja-JP" altLang="en-US" sz="1100" dirty="0">
                <a:solidFill>
                  <a:srgbClr val="FF0000"/>
                </a:solidFill>
              </a:rPr>
              <a:t>を使用します。</a:t>
            </a:r>
            <a:endParaRPr lang="en-US" altLang="ja-JP" sz="1100" dirty="0">
              <a:solidFill>
                <a:srgbClr val="FF0000"/>
              </a:solidFill>
            </a:endParaRP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rgbClr val="FF0000"/>
                </a:solidFill>
              </a:rPr>
              <a:t>スイッチポートがアクセスモードの場合、導入時に</a:t>
            </a:r>
            <a:r>
              <a:rPr lang="en-US" altLang="ja-JP" sz="1100" dirty="0">
                <a:solidFill>
                  <a:srgbClr val="FF0000"/>
                </a:solidFill>
              </a:rPr>
              <a:t>VLAN ID</a:t>
            </a:r>
            <a:r>
              <a:rPr lang="ja-JP" altLang="en-US" sz="1100" dirty="0">
                <a:solidFill>
                  <a:srgbClr val="FF0000"/>
                </a:solidFill>
              </a:rPr>
              <a:t> </a:t>
            </a:r>
            <a:r>
              <a:rPr lang="en-US" altLang="ja-JP" sz="1100" dirty="0">
                <a:solidFill>
                  <a:srgbClr val="FF0000"/>
                </a:solidFill>
              </a:rPr>
              <a:t>0</a:t>
            </a:r>
            <a:r>
              <a:rPr lang="ja-JP" altLang="en-US" sz="1100" dirty="0">
                <a:solidFill>
                  <a:srgbClr val="FF0000"/>
                </a:solidFill>
              </a:rPr>
              <a:t>を使用します。</a:t>
            </a:r>
            <a:endParaRPr 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326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F6D124-4EA1-E9AA-2611-6793893FC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864657"/>
            <a:ext cx="6716520" cy="560923"/>
          </a:xfrm>
        </p:spPr>
        <p:txBody>
          <a:bodyPr/>
          <a:lstStyle/>
          <a:p>
            <a:r>
              <a:rPr lang="ja-JP" altLang="en-US" dirty="0"/>
              <a:t>ソフトウェア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7D7203-5671-C0FC-73CE-FD7FEE65D5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92551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DA7FBC-3405-4CAC-ADF2-913F572B58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2" progId="TCLayout.ActiveDocument.1">
                  <p:embed/>
                </p:oleObj>
              </mc:Choice>
              <mc:Fallback>
                <p:oleObj name="think-cell Slide" r:id="rId4" imgW="416" imgH="41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DA7FBC-3405-4CAC-ADF2-913F572B5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15DDD7-199F-4BBE-AA53-FAA534933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defRPr>
                <a:solidFill>
                  <a:schemeClr val="tx2"/>
                </a:solidFill>
              </a:defRPr>
            </a:pPr>
            <a:r>
              <a:rPr lang="ja-JP" altLang="en-US">
                <a:solidFill>
                  <a:schemeClr val="bg1"/>
                </a:solidFill>
              </a:rPr>
              <a:t>ソフトウェア・アーキテクチャー及び機能</a:t>
            </a:r>
            <a:endParaRPr>
              <a:solidFill>
                <a:schemeClr val="bg1"/>
              </a:solidFill>
            </a:endParaRP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E4D0EB5F-C576-4BB0-9DCD-67F6480F9204}"/>
              </a:ext>
            </a:extLst>
          </p:cNvPr>
          <p:cNvGrpSpPr/>
          <p:nvPr/>
        </p:nvGrpSpPr>
        <p:grpSpPr>
          <a:xfrm>
            <a:off x="514351" y="770439"/>
            <a:ext cx="3416699" cy="2944312"/>
            <a:chOff x="7108223" y="1645673"/>
            <a:chExt cx="4555598" cy="4151353"/>
          </a:xfrm>
        </p:grpSpPr>
        <p:sp>
          <p:nvSpPr>
            <p:cNvPr id="15" name="TextBox 29">
              <a:extLst>
                <a:ext uri="{FF2B5EF4-FFF2-40B4-BE49-F238E27FC236}">
                  <a16:creationId xmlns:a16="http://schemas.microsoft.com/office/drawing/2014/main" id="{614127A5-CA3A-4A97-B950-1C8BD92F2EA2}"/>
                </a:ext>
              </a:extLst>
            </p:cNvPr>
            <p:cNvSpPr txBox="1"/>
            <p:nvPr/>
          </p:nvSpPr>
          <p:spPr>
            <a:xfrm>
              <a:off x="7108223" y="1645673"/>
              <a:ext cx="4555598" cy="4151353"/>
            </a:xfrm>
            <a:prstGeom prst="rect">
              <a:avLst/>
            </a:prstGeom>
            <a:solidFill>
              <a:schemeClr val="tx2">
                <a:lumMod val="95000"/>
              </a:schemeClr>
            </a:solidFill>
            <a:ln w="3175">
              <a:solidFill>
                <a:srgbClr val="1796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t"/>
            <a:lstStyle>
              <a:defPPr>
                <a:defRPr lang="en-US"/>
              </a:defPPr>
              <a:lvl1pPr defTabSz="684213">
                <a:defRPr sz="1000" b="1">
                  <a:solidFill>
                    <a:schemeClr val="bg1"/>
                  </a:solidFill>
                  <a:latin typeface="Arial"/>
                  <a:cs typeface="Arial"/>
                </a:defRPr>
              </a:lvl1pPr>
              <a:lvl2pPr marL="742950" indent="-285750" defTabSz="684213">
                <a:defRPr sz="1300">
                  <a:latin typeface="Arial" panose="020B0604020202020204" pitchFamily="34" charset="0"/>
                </a:defRPr>
              </a:lvl2pPr>
              <a:lvl3pPr marL="1143000" indent="-228600" defTabSz="684213">
                <a:defRPr sz="1300">
                  <a:latin typeface="Arial" panose="020B0604020202020204" pitchFamily="34" charset="0"/>
                </a:defRPr>
              </a:lvl3pPr>
              <a:lvl4pPr marL="1600200" indent="-228600" defTabSz="684213">
                <a:defRPr sz="1300">
                  <a:latin typeface="Arial" panose="020B0604020202020204" pitchFamily="34" charset="0"/>
                </a:defRPr>
              </a:lvl4pPr>
              <a:lvl5pPr marL="2057400" indent="-228600" defTabSz="684213">
                <a:defRPr sz="1300">
                  <a:latin typeface="Arial" panose="020B0604020202020204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9pPr>
            </a:lstStyle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  <a:p>
              <a:pPr defTabSz="684162">
                <a:defRPr/>
              </a:pPr>
              <a:endParaRPr lang="en-US">
                <a:solidFill>
                  <a:srgbClr val="0076CE"/>
                </a:solidFill>
              </a:endParaRPr>
            </a:p>
          </p:txBody>
        </p:sp>
        <p:grpSp>
          <p:nvGrpSpPr>
            <p:cNvPr id="16" name="PPDM Group">
              <a:extLst>
                <a:ext uri="{FF2B5EF4-FFF2-40B4-BE49-F238E27FC236}">
                  <a16:creationId xmlns:a16="http://schemas.microsoft.com/office/drawing/2014/main" id="{400E83E7-5284-486D-9430-D9F7A9E4377B}"/>
                </a:ext>
              </a:extLst>
            </p:cNvPr>
            <p:cNvGrpSpPr/>
            <p:nvPr/>
          </p:nvGrpSpPr>
          <p:grpSpPr>
            <a:xfrm>
              <a:off x="7462864" y="2201546"/>
              <a:ext cx="3237988" cy="1186932"/>
              <a:chOff x="5639378" y="1462304"/>
              <a:chExt cx="2428491" cy="890199"/>
            </a:xfrm>
          </p:grpSpPr>
          <p:sp>
            <p:nvSpPr>
              <p:cNvPr id="17" name="PPDM">
                <a:extLst>
                  <a:ext uri="{FF2B5EF4-FFF2-40B4-BE49-F238E27FC236}">
                    <a16:creationId xmlns:a16="http://schemas.microsoft.com/office/drawing/2014/main" id="{DB1E2E89-C8A7-4FAC-9430-E218A08F2483}"/>
                  </a:ext>
                </a:extLst>
              </p:cNvPr>
              <p:cNvSpPr/>
              <p:nvPr/>
            </p:nvSpPr>
            <p:spPr>
              <a:xfrm>
                <a:off x="5639378" y="1462304"/>
                <a:ext cx="2428491" cy="89019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defRPr/>
                </a:pPr>
                <a:r>
                  <a:rPr lang="ja-JP" altLang="en-US" sz="1100" b="1">
                    <a:solidFill>
                      <a:srgbClr val="FFFFFF"/>
                    </a:solidFill>
                    <a:latin typeface="Arial"/>
                  </a:rPr>
                  <a:t>ソフトウェア</a:t>
                </a:r>
                <a:endParaRPr lang="en-US" sz="1100" b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8" name="Search">
                <a:extLst>
                  <a:ext uri="{FF2B5EF4-FFF2-40B4-BE49-F238E27FC236}">
                    <a16:creationId xmlns:a16="http://schemas.microsoft.com/office/drawing/2014/main" id="{DF54E6F9-3AE3-44CC-95E2-6645806B8D1D}"/>
                  </a:ext>
                </a:extLst>
              </p:cNvPr>
              <p:cNvSpPr txBox="1"/>
              <p:nvPr/>
            </p:nvSpPr>
            <p:spPr>
              <a:xfrm>
                <a:off x="6513690" y="2120531"/>
                <a:ext cx="1492581" cy="146458"/>
              </a:xfrm>
              <a:prstGeom prst="rect">
                <a:avLst/>
              </a:prstGeom>
              <a:solidFill>
                <a:srgbClr val="0067B4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Search</a:t>
                </a:r>
              </a:p>
            </p:txBody>
          </p:sp>
          <p:sp>
            <p:nvSpPr>
              <p:cNvPr id="19" name="M&amp;R">
                <a:extLst>
                  <a:ext uri="{FF2B5EF4-FFF2-40B4-BE49-F238E27FC236}">
                    <a16:creationId xmlns:a16="http://schemas.microsoft.com/office/drawing/2014/main" id="{22E1D18D-9A84-4260-961C-1C156C476E4B}"/>
                  </a:ext>
                </a:extLst>
              </p:cNvPr>
              <p:cNvSpPr txBox="1"/>
              <p:nvPr/>
            </p:nvSpPr>
            <p:spPr>
              <a:xfrm>
                <a:off x="6513690" y="1918723"/>
                <a:ext cx="1492581" cy="146458"/>
              </a:xfrm>
              <a:prstGeom prst="rect">
                <a:avLst/>
              </a:prstGeom>
              <a:solidFill>
                <a:srgbClr val="0067B4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Monitoring &amp; Reporting</a:t>
                </a:r>
              </a:p>
            </p:txBody>
          </p:sp>
          <p:sp>
            <p:nvSpPr>
              <p:cNvPr id="20" name="CDR">
                <a:extLst>
                  <a:ext uri="{FF2B5EF4-FFF2-40B4-BE49-F238E27FC236}">
                    <a16:creationId xmlns:a16="http://schemas.microsoft.com/office/drawing/2014/main" id="{F4131B2D-A8F0-4A97-A133-F30166EBFE4B}"/>
                  </a:ext>
                </a:extLst>
              </p:cNvPr>
              <p:cNvSpPr txBox="1"/>
              <p:nvPr/>
            </p:nvSpPr>
            <p:spPr>
              <a:xfrm>
                <a:off x="6513102" y="1716915"/>
                <a:ext cx="1490053" cy="146458"/>
              </a:xfrm>
              <a:prstGeom prst="rect">
                <a:avLst/>
              </a:prstGeom>
              <a:solidFill>
                <a:srgbClr val="0067B4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Cloud DR</a:t>
                </a:r>
              </a:p>
            </p:txBody>
          </p:sp>
          <p:sp>
            <p:nvSpPr>
              <p:cNvPr id="21" name="DM">
                <a:extLst>
                  <a:ext uri="{FF2B5EF4-FFF2-40B4-BE49-F238E27FC236}">
                    <a16:creationId xmlns:a16="http://schemas.microsoft.com/office/drawing/2014/main" id="{B34B3827-A9F5-4FB6-B0B7-11FA5913B04A}"/>
                  </a:ext>
                </a:extLst>
              </p:cNvPr>
              <p:cNvSpPr txBox="1"/>
              <p:nvPr/>
            </p:nvSpPr>
            <p:spPr>
              <a:xfrm>
                <a:off x="6513367" y="1515106"/>
                <a:ext cx="1491201" cy="146458"/>
              </a:xfrm>
              <a:prstGeom prst="rect">
                <a:avLst/>
              </a:prstGeom>
              <a:solidFill>
                <a:srgbClr val="0067B4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Data Management</a:t>
                </a:r>
              </a:p>
            </p:txBody>
          </p:sp>
        </p:grpSp>
        <p:grpSp>
          <p:nvGrpSpPr>
            <p:cNvPr id="22" name="DD Group">
              <a:extLst>
                <a:ext uri="{FF2B5EF4-FFF2-40B4-BE49-F238E27FC236}">
                  <a16:creationId xmlns:a16="http://schemas.microsoft.com/office/drawing/2014/main" id="{2AF8CF04-F11B-447F-87AF-5AEB1B51D374}"/>
                </a:ext>
              </a:extLst>
            </p:cNvPr>
            <p:cNvGrpSpPr/>
            <p:nvPr/>
          </p:nvGrpSpPr>
          <p:grpSpPr>
            <a:xfrm>
              <a:off x="7462864" y="3519433"/>
              <a:ext cx="3262869" cy="1186932"/>
              <a:chOff x="5636269" y="2467201"/>
              <a:chExt cx="2447152" cy="890199"/>
            </a:xfrm>
          </p:grpSpPr>
          <p:sp>
            <p:nvSpPr>
              <p:cNvPr id="23" name="DDOS">
                <a:extLst>
                  <a:ext uri="{FF2B5EF4-FFF2-40B4-BE49-F238E27FC236}">
                    <a16:creationId xmlns:a16="http://schemas.microsoft.com/office/drawing/2014/main" id="{D7BAF111-B63D-48C5-A5A0-656A544EBD5A}"/>
                  </a:ext>
                </a:extLst>
              </p:cNvPr>
              <p:cNvSpPr/>
              <p:nvPr/>
            </p:nvSpPr>
            <p:spPr>
              <a:xfrm>
                <a:off x="5636269" y="2467201"/>
                <a:ext cx="2447152" cy="890199"/>
              </a:xfrm>
              <a:prstGeom prst="rect">
                <a:avLst/>
              </a:prstGeom>
              <a:solidFill>
                <a:schemeClr val="bg2">
                  <a:lumMod val="50000"/>
                  <a:lumOff val="5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rtlCol="0" anchor="ctr"/>
              <a:lstStyle/>
              <a:p>
                <a:pPr>
                  <a:defRPr/>
                </a:pPr>
                <a:r>
                  <a:rPr lang="ja-JP" altLang="en-US" sz="1088" b="1">
                    <a:solidFill>
                      <a:srgbClr val="FFFFFF"/>
                    </a:solidFill>
                    <a:latin typeface="Arial"/>
                  </a:rPr>
                  <a:t>ストレージ</a:t>
                </a:r>
                <a:endParaRPr lang="en-US" sz="1088" b="1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4" name="Infra">
                <a:extLst>
                  <a:ext uri="{FF2B5EF4-FFF2-40B4-BE49-F238E27FC236}">
                    <a16:creationId xmlns:a16="http://schemas.microsoft.com/office/drawing/2014/main" id="{A2D698B1-2C4A-44DA-A8A5-BB0E3A91C040}"/>
                  </a:ext>
                </a:extLst>
              </p:cNvPr>
              <p:cNvSpPr txBox="1"/>
              <p:nvPr/>
            </p:nvSpPr>
            <p:spPr>
              <a:xfrm>
                <a:off x="6513697" y="3022256"/>
                <a:ext cx="1492581" cy="146458"/>
              </a:xfrm>
              <a:prstGeom prst="rect">
                <a:avLst/>
              </a:prstGeom>
              <a:solidFill>
                <a:schemeClr val="tx2">
                  <a:lumMod val="65000"/>
                </a:scheme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Infrastructure Software</a:t>
                </a:r>
              </a:p>
            </p:txBody>
          </p:sp>
          <p:sp>
            <p:nvSpPr>
              <p:cNvPr id="25" name="DDFS">
                <a:extLst>
                  <a:ext uri="{FF2B5EF4-FFF2-40B4-BE49-F238E27FC236}">
                    <a16:creationId xmlns:a16="http://schemas.microsoft.com/office/drawing/2014/main" id="{6CC95A0B-0BC5-477A-AF9E-C220448614DA}"/>
                  </a:ext>
                </a:extLst>
              </p:cNvPr>
              <p:cNvSpPr txBox="1"/>
              <p:nvPr/>
            </p:nvSpPr>
            <p:spPr>
              <a:xfrm>
                <a:off x="6513697" y="2820448"/>
                <a:ext cx="1492581" cy="146458"/>
              </a:xfrm>
              <a:prstGeom prst="rect">
                <a:avLst/>
              </a:prstGeom>
              <a:solidFill>
                <a:schemeClr val="tx2">
                  <a:lumMod val="65000"/>
                </a:scheme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altLang="ja-JP" sz="900" b="1">
                    <a:solidFill>
                      <a:srgbClr val="FFFFFF"/>
                    </a:solidFill>
                    <a:latin typeface="Arial"/>
                  </a:rPr>
                  <a:t>DD Filesystem</a:t>
                </a:r>
                <a:endParaRPr lang="en-US" sz="900" b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30" name="Manageability">
                <a:extLst>
                  <a:ext uri="{FF2B5EF4-FFF2-40B4-BE49-F238E27FC236}">
                    <a16:creationId xmlns:a16="http://schemas.microsoft.com/office/drawing/2014/main" id="{E2767A03-B1D1-45CD-BF21-B42EAEA02759}"/>
                  </a:ext>
                </a:extLst>
              </p:cNvPr>
              <p:cNvSpPr txBox="1"/>
              <p:nvPr/>
            </p:nvSpPr>
            <p:spPr>
              <a:xfrm>
                <a:off x="6513697" y="2618639"/>
                <a:ext cx="1490052" cy="146458"/>
              </a:xfrm>
              <a:prstGeom prst="rect">
                <a:avLst/>
              </a:prstGeom>
              <a:solidFill>
                <a:schemeClr val="tx2">
                  <a:lumMod val="65000"/>
                </a:schemeClr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900" b="1">
                    <a:solidFill>
                      <a:srgbClr val="FFFFFF"/>
                    </a:solidFill>
                    <a:latin typeface="Arial"/>
                  </a:rPr>
                  <a:t>Manageability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4F7CDFC-26A3-4919-8FD9-DABB4CCA8327}"/>
                </a:ext>
              </a:extLst>
            </p:cNvPr>
            <p:cNvSpPr txBox="1"/>
            <p:nvPr/>
          </p:nvSpPr>
          <p:spPr>
            <a:xfrm>
              <a:off x="7462363" y="4888299"/>
              <a:ext cx="3264076" cy="320887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t"/>
            <a:lstStyle>
              <a:defPPr>
                <a:defRPr lang="en-US"/>
              </a:defPPr>
              <a:lvl1pPr defTabSz="684213">
                <a:defRPr sz="1000" b="1">
                  <a:solidFill>
                    <a:schemeClr val="bg1"/>
                  </a:solidFill>
                  <a:latin typeface="Arial"/>
                  <a:cs typeface="Arial"/>
                </a:defRPr>
              </a:lvl1pPr>
              <a:lvl2pPr marL="742950" indent="-285750" defTabSz="684213">
                <a:defRPr sz="1300">
                  <a:latin typeface="Arial" panose="020B0604020202020204" pitchFamily="34" charset="0"/>
                </a:defRPr>
              </a:lvl2pPr>
              <a:lvl3pPr marL="1143000" indent="-228600" defTabSz="684213">
                <a:defRPr sz="1300">
                  <a:latin typeface="Arial" panose="020B0604020202020204" pitchFamily="34" charset="0"/>
                </a:defRPr>
              </a:lvl3pPr>
              <a:lvl4pPr marL="1600200" indent="-228600" defTabSz="684213">
                <a:defRPr sz="1300">
                  <a:latin typeface="Arial" panose="020B0604020202020204" pitchFamily="34" charset="0"/>
                </a:defRPr>
              </a:lvl4pPr>
              <a:lvl5pPr marL="2057400" indent="-228600" defTabSz="684213">
                <a:defRPr sz="1300">
                  <a:latin typeface="Arial" panose="020B0604020202020204" pitchFamily="34" charset="0"/>
                </a:defRPr>
              </a:lvl5pPr>
              <a:lvl6pPr marL="25146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6pPr>
              <a:lvl7pPr marL="29718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7pPr>
              <a:lvl8pPr marL="34290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8pPr>
              <a:lvl9pPr marL="3886200" indent="-228600" defTabSz="684213" fontAlgn="base">
                <a:spcBef>
                  <a:spcPct val="0"/>
                </a:spcBef>
                <a:spcAft>
                  <a:spcPct val="0"/>
                </a:spcAft>
                <a:defRPr sz="1300">
                  <a:latin typeface="Arial" panose="020B0604020202020204" pitchFamily="34" charset="0"/>
                </a:defRPr>
              </a:lvl9pPr>
            </a:lstStyle>
            <a:p>
              <a:pPr algn="ctr" defTabSz="684162">
                <a:defRPr/>
              </a:pPr>
              <a:r>
                <a:rPr lang="en-US" sz="1200">
                  <a:solidFill>
                    <a:srgbClr val="0076CE"/>
                  </a:solidFill>
                </a:rPr>
                <a:t>(Hardware + </a:t>
              </a:r>
              <a:r>
                <a:rPr lang="ja-JP" altLang="en-US" sz="1200">
                  <a:solidFill>
                    <a:srgbClr val="0076CE"/>
                  </a:solidFill>
                </a:rPr>
                <a:t>ｖ</a:t>
              </a:r>
              <a:r>
                <a:rPr lang="en-US" altLang="ja-JP" sz="1200">
                  <a:solidFill>
                    <a:srgbClr val="0076CE"/>
                  </a:solidFill>
                </a:rPr>
                <a:t>Sphere</a:t>
              </a:r>
              <a:r>
                <a:rPr lang="ja-JP" altLang="en-US" sz="1200">
                  <a:solidFill>
                    <a:srgbClr val="0076CE"/>
                  </a:solidFill>
                </a:rPr>
                <a:t> </a:t>
              </a:r>
              <a:r>
                <a:rPr lang="en-US" altLang="ja-JP" sz="1200">
                  <a:solidFill>
                    <a:srgbClr val="0076CE"/>
                  </a:solidFill>
                </a:rPr>
                <a:t>7.0U3</a:t>
              </a:r>
              <a:r>
                <a:rPr lang="en-US" sz="1200">
                  <a:solidFill>
                    <a:srgbClr val="0076CE"/>
                  </a:solidFill>
                </a:rPr>
                <a:t>)</a:t>
              </a:r>
            </a:p>
          </p:txBody>
        </p:sp>
        <p:sp>
          <p:nvSpPr>
            <p:cNvPr id="32" name="PPOE Services VM">
              <a:extLst>
                <a:ext uri="{FF2B5EF4-FFF2-40B4-BE49-F238E27FC236}">
                  <a16:creationId xmlns:a16="http://schemas.microsoft.com/office/drawing/2014/main" id="{CD14907B-AE50-4A4E-A2AF-E4F87DBE3F83}"/>
                </a:ext>
              </a:extLst>
            </p:cNvPr>
            <p:cNvSpPr txBox="1"/>
            <p:nvPr/>
          </p:nvSpPr>
          <p:spPr>
            <a:xfrm>
              <a:off x="10815826" y="1916889"/>
              <a:ext cx="406351" cy="350198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vert="vert" wrap="square" lIns="45720" tIns="0" rIns="45720" bIns="0" rtlCol="0" anchor="ctr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050" b="1">
                  <a:solidFill>
                    <a:srgbClr val="FFFFFF"/>
                  </a:solidFill>
                  <a:latin typeface="Arial"/>
                </a:rPr>
                <a:t>  </a:t>
              </a:r>
              <a:r>
                <a:rPr lang="en-US" sz="1050" b="1" err="1">
                  <a:solidFill>
                    <a:srgbClr val="FFFFFF"/>
                  </a:solidFill>
                  <a:latin typeface="Arial"/>
                </a:rPr>
                <a:t>PowerProtect</a:t>
              </a:r>
              <a:r>
                <a:rPr lang="en-US" sz="1050" b="1">
                  <a:solidFill>
                    <a:srgbClr val="FFFFFF"/>
                  </a:solidFill>
                  <a:latin typeface="Arial"/>
                </a:rPr>
                <a:t> Operating Environment</a:t>
              </a:r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2E837432-1EA0-4501-866F-388620545CC4}"/>
              </a:ext>
            </a:extLst>
          </p:cNvPr>
          <p:cNvGrpSpPr/>
          <p:nvPr/>
        </p:nvGrpSpPr>
        <p:grpSpPr>
          <a:xfrm>
            <a:off x="4746851" y="605226"/>
            <a:ext cx="3878349" cy="3280974"/>
            <a:chOff x="6456420" y="1759209"/>
            <a:chExt cx="5171132" cy="3816703"/>
          </a:xfrm>
        </p:grpSpPr>
        <p:sp>
          <p:nvSpPr>
            <p:cNvPr id="33" name="Rectangle: Rounded Corners 8">
              <a:extLst>
                <a:ext uri="{FF2B5EF4-FFF2-40B4-BE49-F238E27FC236}">
                  <a16:creationId xmlns:a16="http://schemas.microsoft.com/office/drawing/2014/main" id="{452A4008-D57A-4FF6-8766-01D0C5ABA517}"/>
                </a:ext>
              </a:extLst>
            </p:cNvPr>
            <p:cNvSpPr/>
            <p:nvPr/>
          </p:nvSpPr>
          <p:spPr>
            <a:xfrm>
              <a:off x="6456420" y="1759209"/>
              <a:ext cx="5171132" cy="3816703"/>
            </a:xfrm>
            <a:prstGeom prst="roundRect">
              <a:avLst/>
            </a:prstGeom>
            <a:solidFill>
              <a:schemeClr val="tx2">
                <a:lumMod val="95000"/>
              </a:schemeClr>
            </a:solidFill>
            <a:ln w="3175" cap="flat" cmpd="sng" algn="ctr">
              <a:solidFill>
                <a:srgbClr val="1796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14325">
                <a:defRPr/>
              </a:pPr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Content Placeholder 1">
              <a:extLst>
                <a:ext uri="{FF2B5EF4-FFF2-40B4-BE49-F238E27FC236}">
                  <a16:creationId xmlns:a16="http://schemas.microsoft.com/office/drawing/2014/main" id="{335210FB-0C02-4E03-BBFE-38AB0DADB311}"/>
                </a:ext>
              </a:extLst>
            </p:cNvPr>
            <p:cNvSpPr txBox="1">
              <a:spLocks/>
            </p:cNvSpPr>
            <p:nvPr/>
          </p:nvSpPr>
          <p:spPr>
            <a:xfrm>
              <a:off x="6846201" y="2271517"/>
              <a:ext cx="4575954" cy="3251684"/>
            </a:xfrm>
            <a:prstGeom prst="rect">
              <a:avLst/>
            </a:prstGeom>
            <a:noFill/>
          </p:spPr>
          <p:txBody>
            <a:bodyPr lIns="68580" tIns="34290" rIns="68580" bIns="34290" anchor="t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4308" indent="-214308" defTabSz="514313">
                <a:spcBef>
                  <a:spcPts val="225"/>
                </a:spcBef>
                <a:buFont typeface="Arial,Sans-Serif"/>
                <a:buChar char="•"/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cs typeface="Arial"/>
                </a:rPr>
                <a:t>統合されたユーザー・エクスペリエンス</a:t>
              </a:r>
              <a:endParaRPr lang="en-US" altLang="ja-JP" sz="12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lvl="1" defTabSz="514313">
                <a:spcBef>
                  <a:spcPts val="225"/>
                </a:spcBef>
                <a:defRPr/>
              </a:pP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- 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設定やアラート、レポート機能などの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Dashboard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形式の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GUI</a:t>
              </a: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　　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‐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リモートサポート</a:t>
              </a:r>
              <a:endParaRPr lang="en-US" sz="9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214308" indent="-214308" defTabSz="514313">
                <a:spcBef>
                  <a:spcPts val="225"/>
                </a:spcBef>
                <a:buFont typeface="Arial"/>
                <a:buChar char="•"/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</a:rPr>
                <a:t>モダン・ワークロードのサポート</a:t>
              </a:r>
              <a:endParaRPr lang="en-US" altLang="ja-JP" sz="788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　　　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-  </a:t>
              </a:r>
              <a:r>
                <a:rPr lang="en-US" altLang="ja-JP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VADP</a:t>
              </a:r>
              <a:r>
                <a:rPr lang="ja-JP" altLang="en-US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に変わる新機能の</a:t>
              </a:r>
              <a:r>
                <a:rPr lang="en-US" altLang="ja-JP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VM</a:t>
              </a:r>
              <a:r>
                <a:rPr lang="ja-JP" altLang="en-US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保護（</a:t>
              </a:r>
              <a:r>
                <a:rPr lang="en-US" altLang="ja-JP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T-Snap</a:t>
              </a:r>
              <a:r>
                <a:rPr lang="ja-JP" altLang="en-US" sz="900">
                  <a:solidFill>
                    <a:srgbClr val="000000"/>
                  </a:solidFill>
                  <a:latin typeface="+mj-ea"/>
                  <a:ea typeface="+mj-ea"/>
                  <a:cs typeface="Arial"/>
                </a:rPr>
                <a:t>）</a:t>
              </a:r>
              <a:endParaRPr lang="en-US" altLang="ja-JP" sz="900">
                <a:solidFill>
                  <a:srgbClr val="000000"/>
                </a:solidFill>
                <a:latin typeface="+mj-ea"/>
                <a:ea typeface="+mj-ea"/>
                <a:cs typeface="Arial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en-US" altLang="ja-JP" sz="788">
                  <a:solidFill>
                    <a:srgbClr val="000000"/>
                  </a:solidFill>
                  <a:latin typeface="Arial"/>
                  <a:cs typeface="Arial"/>
                </a:rPr>
                <a:t>          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‐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容易な初期設定やアップグレード</a:t>
              </a:r>
              <a:endParaRPr lang="en-US" sz="12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214308" indent="-214308" defTabSz="514313">
                <a:spcBef>
                  <a:spcPts val="225"/>
                </a:spcBef>
                <a:buFont typeface="Arial,Sans-Serif"/>
                <a:buChar char="•"/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データの信頼性とセキュリティー</a:t>
              </a:r>
              <a:endParaRPr lang="en-US" sz="1200">
                <a:ea typeface="+mn-lt"/>
                <a:cs typeface="+mn-lt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　　　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‐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ストレージプール式によるデータ管理</a:t>
              </a:r>
              <a:endParaRPr lang="en-US" altLang="ja-JP" sz="9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　　　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‐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データ改ざん防止機能及び暗号化</a:t>
              </a:r>
              <a:endParaRPr lang="en-US" sz="9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214308" indent="-214308" defTabSz="514313">
                <a:spcBef>
                  <a:spcPts val="225"/>
                </a:spcBef>
                <a:buFont typeface="Arial"/>
                <a:buChar char="•"/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アクセス管理（</a:t>
              </a:r>
              <a:r>
                <a:rPr lang="en-US" altLang="ja-JP" sz="12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IAM</a:t>
              </a:r>
              <a:r>
                <a:rPr lang="ja-JP" altLang="en-US" sz="12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）</a:t>
              </a:r>
              <a:endParaRPr lang="en-US" altLang="ja-JP" sz="1200">
                <a:solidFill>
                  <a:srgbClr val="000000"/>
                </a:solidFill>
                <a:latin typeface="Arial"/>
                <a:ea typeface="+mn-lt"/>
                <a:cs typeface="Arial"/>
              </a:endParaRPr>
            </a:p>
            <a:p>
              <a:pPr lvl="1" defTabSz="514313">
                <a:spcBef>
                  <a:spcPts val="225"/>
                </a:spcBef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 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 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‐GUI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へのシングルサインオン</a:t>
              </a:r>
              <a:endParaRPr lang="en-US" altLang="ja-JP" sz="900">
                <a:solidFill>
                  <a:srgbClr val="000000"/>
                </a:solidFill>
                <a:latin typeface="Arial"/>
                <a:ea typeface="+mn-lt"/>
                <a:cs typeface="Arial"/>
              </a:endParaRPr>
            </a:p>
            <a:p>
              <a:pPr lvl="1"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   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 - 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ea typeface="+mn-lt"/>
                  <a:cs typeface="Arial"/>
                </a:rPr>
                <a:t>ロールベースのアクセス制御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  </a:t>
              </a:r>
              <a:endParaRPr lang="en-US" sz="12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214308" indent="-214308" defTabSz="514313">
                <a:spcBef>
                  <a:spcPts val="225"/>
                </a:spcBef>
                <a:buFont typeface="Arial"/>
                <a:buChar char="•"/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cs typeface="Arial"/>
                </a:rPr>
                <a:t>簡素化されたネットワーキング</a:t>
              </a:r>
              <a:endParaRPr lang="en-US" altLang="ja-JP" sz="12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1200">
                  <a:solidFill>
                    <a:srgbClr val="000000"/>
                  </a:solidFill>
                  <a:latin typeface="Arial"/>
                  <a:cs typeface="Arial"/>
                </a:rPr>
                <a:t>　　　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 - 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初期設定用の３つの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IP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アドレス</a:t>
              </a:r>
              <a:endParaRPr lang="en-US" altLang="ja-JP" sz="90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defTabSz="514313">
                <a:spcBef>
                  <a:spcPts val="225"/>
                </a:spcBef>
                <a:defRPr/>
              </a:pP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　　　　  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 -  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複数の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VLAN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サポート（最大</a:t>
              </a:r>
              <a:r>
                <a:rPr lang="en-US" altLang="ja-JP" sz="900">
                  <a:solidFill>
                    <a:srgbClr val="000000"/>
                  </a:solidFill>
                  <a:latin typeface="Arial"/>
                  <a:cs typeface="Arial"/>
                </a:rPr>
                <a:t>80</a:t>
              </a:r>
              <a:r>
                <a:rPr lang="ja-JP" altLang="en-US" sz="900">
                  <a:solidFill>
                    <a:srgbClr val="000000"/>
                  </a:solidFill>
                  <a:latin typeface="Arial"/>
                  <a:cs typeface="Arial"/>
                </a:rPr>
                <a:t>）</a:t>
              </a:r>
              <a:endParaRPr lang="en-US" sz="1013"/>
            </a:p>
          </p:txBody>
        </p:sp>
      </p:grpSp>
      <p:sp>
        <p:nvSpPr>
          <p:cNvPr id="35" name="Arrow: Left-Right 27">
            <a:extLst>
              <a:ext uri="{FF2B5EF4-FFF2-40B4-BE49-F238E27FC236}">
                <a16:creationId xmlns:a16="http://schemas.microsoft.com/office/drawing/2014/main" id="{07EFCCE6-8363-4126-BA7A-8F63E64FD4D2}"/>
              </a:ext>
            </a:extLst>
          </p:cNvPr>
          <p:cNvSpPr/>
          <p:nvPr/>
        </p:nvSpPr>
        <p:spPr>
          <a:xfrm>
            <a:off x="3782780" y="2077543"/>
            <a:ext cx="1073433" cy="642026"/>
          </a:xfrm>
          <a:prstGeom prst="leftRightArrow">
            <a:avLst/>
          </a:prstGeom>
          <a:gradFill flip="none" rotWithShape="1">
            <a:gsLst>
              <a:gs pos="0">
                <a:srgbClr val="0B7FD6">
                  <a:shade val="30000"/>
                  <a:satMod val="115000"/>
                </a:srgbClr>
              </a:gs>
              <a:gs pos="50000">
                <a:srgbClr val="0B7FD6">
                  <a:shade val="67500"/>
                  <a:satMod val="115000"/>
                </a:srgbClr>
              </a:gs>
              <a:gs pos="100000">
                <a:srgbClr val="0B7FD6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900">
              <a:solidFill>
                <a:schemeClr val="bg2"/>
              </a:solidFill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11F35B9C-0083-4742-AACC-979F06B3BF34}"/>
              </a:ext>
            </a:extLst>
          </p:cNvPr>
          <p:cNvSpPr txBox="1"/>
          <p:nvPr/>
        </p:nvSpPr>
        <p:spPr>
          <a:xfrm>
            <a:off x="5066367" y="731824"/>
            <a:ext cx="3097002" cy="2769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kumimoji="1" lang="en-US" altLang="ja-JP" sz="1800" b="1" err="1"/>
              <a:t>PowerProtect</a:t>
            </a:r>
            <a:r>
              <a:rPr kumimoji="1" lang="en-US" altLang="ja-JP" sz="1800" b="1"/>
              <a:t> DM5500</a:t>
            </a:r>
            <a:r>
              <a:rPr kumimoji="1" lang="ja-JP" altLang="en-US" sz="1800" b="1"/>
              <a:t>の機能</a:t>
            </a:r>
          </a:p>
        </p:txBody>
      </p:sp>
    </p:spTree>
    <p:extLst>
      <p:ext uri="{BB962C8B-B14F-4D97-AF65-F5344CB8AC3E}">
        <p14:creationId xmlns:p14="http://schemas.microsoft.com/office/powerpoint/2010/main" val="426109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">
            <a:extLst>
              <a:ext uri="{FF2B5EF4-FFF2-40B4-BE49-F238E27FC236}">
                <a16:creationId xmlns:a16="http://schemas.microsoft.com/office/drawing/2014/main" id="{966502D3-BAB7-4F39-B589-D43AD8D4CD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589087"/>
              </p:ext>
            </p:extLst>
          </p:nvPr>
        </p:nvGraphicFramePr>
        <p:xfrm>
          <a:off x="949301" y="818395"/>
          <a:ext cx="6324017" cy="1336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4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6006">
                  <a:extLst>
                    <a:ext uri="{9D8B030D-6E8A-4147-A177-3AD203B41FA5}">
                      <a16:colId xmlns:a16="http://schemas.microsoft.com/office/drawing/2014/main" val="1425921003"/>
                    </a:ext>
                  </a:extLst>
                </a:gridCol>
                <a:gridCol w="1984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2242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Component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Function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Software Version</a:t>
                      </a:r>
                    </a:p>
                  </a:txBody>
                  <a:tcPr marL="57833" marR="57833" marT="28916" marB="2891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DDVE/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DDOS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Protection Storage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7.10</a:t>
                      </a:r>
                      <a:endParaRPr lang="en-US" sz="1200" b="1">
                        <a:solidFill>
                          <a:schemeClr val="bg2"/>
                        </a:solidFill>
                        <a:latin typeface="Arial" panose="020B0604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 marL="57833" marR="57833" marT="28916" marB="2891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 err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PowerProtect</a:t>
                      </a:r>
                      <a:r>
                        <a:rPr lang="en-US" altLang="ja-JP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 Data Manager</a:t>
                      </a:r>
                      <a:endParaRPr lang="en-US" sz="1200" b="1">
                        <a:solidFill>
                          <a:schemeClr val="bg2"/>
                        </a:solidFill>
                        <a:latin typeface="Arial" panose="020B0604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Backup Application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19.12</a:t>
                      </a:r>
                    </a:p>
                  </a:txBody>
                  <a:tcPr marL="57833" marR="57833" marT="28916" marB="28916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 err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PowerProtect</a:t>
                      </a:r>
                      <a:r>
                        <a:rPr lang="en-US" altLang="ja-JP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 OE</a:t>
                      </a:r>
                      <a:endParaRPr lang="en-US" sz="1200" b="1">
                        <a:solidFill>
                          <a:schemeClr val="bg2"/>
                        </a:solidFill>
                        <a:latin typeface="Arial" panose="020B0604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Integration Service</a:t>
                      </a:r>
                      <a:endParaRPr lang="en-US" sz="1200" b="1">
                        <a:solidFill>
                          <a:schemeClr val="bg2"/>
                        </a:solidFill>
                        <a:latin typeface="Arial" panose="020B0604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5.12</a:t>
                      </a:r>
                    </a:p>
                  </a:txBody>
                  <a:tcPr marL="57833" marR="57833" marT="28916" marB="28916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863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vSphere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err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PowerProtect</a:t>
                      </a:r>
                      <a:r>
                        <a:rPr lang="en-US" sz="1200" b="1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 DM Platform</a:t>
                      </a:r>
                    </a:p>
                  </a:txBody>
                  <a:tcPr marL="57833" marR="57833" marT="28916" marB="289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200" b="1" baseline="0" dirty="0">
                          <a:solidFill>
                            <a:schemeClr val="bg2"/>
                          </a:solidFill>
                          <a:latin typeface="Arial" panose="020B0604020202020204" pitchFamily="34" charset="0"/>
                          <a:ea typeface="Meiryo UI" panose="020B0604030504040204" pitchFamily="50" charset="-128"/>
                        </a:rPr>
                        <a:t>7.0U3</a:t>
                      </a:r>
                      <a:endParaRPr lang="en-US" sz="1200" b="1" baseline="0" dirty="0">
                        <a:solidFill>
                          <a:schemeClr val="bg2"/>
                        </a:solidFill>
                        <a:latin typeface="Arial" panose="020B0604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 marL="57833" marR="57833" marT="28916" marB="28916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DA7FBC-3405-4CAC-ADF2-913F572B58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2" progId="TCLayout.ActiveDocument.1">
                  <p:embed/>
                </p:oleObj>
              </mc:Choice>
              <mc:Fallback>
                <p:oleObj name="think-cell Slide" r:id="rId4" imgW="416" imgH="41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DA7FBC-3405-4CAC-ADF2-913F572B5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15DDD7-199F-4BBE-AA53-FAA534933D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defRPr>
                <a:solidFill>
                  <a:schemeClr val="tx2"/>
                </a:solidFill>
              </a:defRPr>
            </a:pPr>
            <a:r>
              <a:rPr lang="ja-JP" altLang="en-US">
                <a:solidFill>
                  <a:schemeClr val="bg1"/>
                </a:solidFill>
              </a:rPr>
              <a:t>ソフトウェア・アーキテクチャー及び機能</a:t>
            </a:r>
            <a:endParaRPr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47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897E7-3FC9-4B04-AE0D-AB0E41D33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32399"/>
          </a:xfrm>
        </p:spPr>
        <p:txBody>
          <a:bodyPr/>
          <a:lstStyle/>
          <a:p>
            <a:r>
              <a:rPr lang="ja-JP" altLang="en-US"/>
              <a:t>ライセンス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49C226-8078-40C8-8336-B5805CEADD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1069521"/>
            <a:ext cx="8572500" cy="3314700"/>
          </a:xfrm>
        </p:spPr>
        <p:txBody>
          <a:bodyPr lIns="0" tIns="0" rIns="0" bIns="0" anchor="t">
            <a:normAutofit lnSpcReduction="10000"/>
          </a:bodyPr>
          <a:lstStyle/>
          <a:p>
            <a:r>
              <a:rPr lang="ja-JP" altLang="en-US" sz="1600" dirty="0"/>
              <a:t>シングル ライセンス ファイル</a:t>
            </a:r>
            <a:endParaRPr lang="en-US" altLang="ja-JP" sz="1600" dirty="0"/>
          </a:p>
          <a:p>
            <a:r>
              <a:rPr lang="ja-JP" altLang="en-US" sz="1600" dirty="0"/>
              <a:t>ライセンスは</a:t>
            </a:r>
            <a:r>
              <a:rPr lang="en-US" altLang="ja-JP" sz="1600" dirty="0"/>
              <a:t>PPOE </a:t>
            </a:r>
            <a:r>
              <a:rPr lang="ja-JP" altLang="en-US" sz="1600" dirty="0"/>
              <a:t>構成サービスによって管理されます</a:t>
            </a:r>
            <a:endParaRPr lang="en-US" sz="1200" dirty="0"/>
          </a:p>
          <a:p>
            <a:r>
              <a:rPr lang="ja-JP" altLang="en-US" sz="1600" dirty="0"/>
              <a:t>バックエンドのアクティブ ティアの容量に基づいてライセンスが付与されます </a:t>
            </a:r>
            <a:r>
              <a:rPr lang="en-US" altLang="ja-JP" sz="1600" dirty="0"/>
              <a:t>(12 TB</a:t>
            </a:r>
            <a:r>
              <a:rPr lang="ja-JP" altLang="en-US" sz="1600" dirty="0"/>
              <a:t>単位の増分</a:t>
            </a:r>
            <a:r>
              <a:rPr lang="en-US" altLang="ja-JP" sz="1600" dirty="0"/>
              <a:t>)</a:t>
            </a:r>
            <a:endParaRPr lang="en-US" sz="1600" dirty="0"/>
          </a:p>
          <a:p>
            <a:pPr lvl="1"/>
            <a:r>
              <a:rPr lang="en-US" altLang="ja-JP" sz="1200" dirty="0"/>
              <a:t>2:1 </a:t>
            </a:r>
            <a:r>
              <a:rPr lang="ja-JP" altLang="en-US" sz="1200" dirty="0"/>
              <a:t>のクラウド ティアを含む </a:t>
            </a:r>
            <a:r>
              <a:rPr lang="en-US" altLang="ja-JP" sz="1200" dirty="0"/>
              <a:t>(2 </a:t>
            </a:r>
            <a:r>
              <a:rPr lang="ja-JP" altLang="en-US" sz="1200" dirty="0"/>
              <a:t>つのクラウド ユニット間</a:t>
            </a:r>
            <a:r>
              <a:rPr lang="en-US" altLang="ja-JP" sz="1200" dirty="0"/>
              <a:t>)</a:t>
            </a:r>
            <a:endParaRPr lang="en-US" sz="1200" dirty="0"/>
          </a:p>
          <a:p>
            <a:pPr lvl="1"/>
            <a:r>
              <a:rPr lang="en-US" altLang="ja-JP" sz="1200" dirty="0"/>
              <a:t>Cloud DR </a:t>
            </a:r>
            <a:r>
              <a:rPr lang="ja-JP" altLang="en-US" sz="1200"/>
              <a:t>や</a:t>
            </a:r>
            <a:r>
              <a:rPr lang="en-US" altLang="ja-JP" sz="1200" dirty="0"/>
              <a:t>Cloud Snapshot</a:t>
            </a:r>
            <a:r>
              <a:rPr lang="ja-JP" altLang="en-US" sz="1200"/>
              <a:t>などのクラウド機能のライセンスが含まれています</a:t>
            </a:r>
            <a:endParaRPr lang="en-US" sz="1200"/>
          </a:p>
          <a:p>
            <a:pPr lvl="1"/>
            <a:r>
              <a:rPr lang="ja-JP" altLang="en-US" sz="1200" dirty="0"/>
              <a:t>暗号化、レプリケーションなどのすべての機能がデフォルトで含まれます</a:t>
            </a:r>
            <a:endParaRPr lang="en-US" sz="1200" dirty="0"/>
          </a:p>
          <a:p>
            <a:r>
              <a:rPr lang="ja-JP" altLang="en-US" sz="1600" dirty="0"/>
              <a:t>容量に基づく永久ライセンス</a:t>
            </a:r>
            <a:endParaRPr lang="en-US" sz="1600" dirty="0"/>
          </a:p>
          <a:p>
            <a:r>
              <a:rPr lang="en-US" altLang="ja-JP" sz="1600" dirty="0"/>
              <a:t>90 </a:t>
            </a:r>
            <a:r>
              <a:rPr lang="ja-JP" altLang="en-US" sz="1600" dirty="0"/>
              <a:t>日間の </a:t>
            </a:r>
            <a:r>
              <a:rPr lang="en-US" altLang="ja-JP" sz="1600" dirty="0"/>
              <a:t>12 TB </a:t>
            </a:r>
            <a:r>
              <a:rPr lang="ja-JP" altLang="en-US" sz="1600" dirty="0"/>
              <a:t>ライセンス</a:t>
            </a:r>
            <a:endParaRPr lang="en-US" sz="1600" dirty="0"/>
          </a:p>
          <a:p>
            <a:pPr lvl="1"/>
            <a:r>
              <a:rPr lang="ja-JP" altLang="en-US" sz="1200" dirty="0"/>
              <a:t>工場出荷時にアクティブ化される最小容量 </a:t>
            </a:r>
            <a:r>
              <a:rPr lang="en-US" altLang="ja-JP" sz="1200" dirty="0"/>
              <a:t>(12 TB)</a:t>
            </a:r>
            <a:endParaRPr lang="en-US" sz="1200" dirty="0"/>
          </a:p>
          <a:p>
            <a:pPr lvl="1"/>
            <a:r>
              <a:rPr lang="en-US" sz="1200" dirty="0"/>
              <a:t>12TB～96TB</a:t>
            </a:r>
            <a:r>
              <a:rPr lang="ja-JP" altLang="en-US" sz="1200" dirty="0"/>
              <a:t>の容量</a:t>
            </a:r>
            <a:endParaRPr lang="en-US" sz="1200" dirty="0"/>
          </a:p>
          <a:p>
            <a:pPr lvl="1"/>
            <a:r>
              <a:rPr lang="ja-JP" altLang="en-US" sz="1200" dirty="0"/>
              <a:t>容量は</a:t>
            </a:r>
            <a:r>
              <a:rPr lang="en-US" altLang="ja-JP" sz="1200" dirty="0"/>
              <a:t>12TB</a:t>
            </a:r>
            <a:r>
              <a:rPr lang="ja-JP" altLang="en-US" sz="1200" dirty="0"/>
              <a:t>から</a:t>
            </a:r>
            <a:r>
              <a:rPr lang="en-US" altLang="ja-JP" sz="1200" dirty="0"/>
              <a:t>96TB</a:t>
            </a:r>
            <a:r>
              <a:rPr lang="ja-JP" altLang="en-US" sz="1200" dirty="0"/>
              <a:t>まで</a:t>
            </a:r>
            <a:r>
              <a:rPr lang="en-US" altLang="ja-JP" sz="1200" dirty="0"/>
              <a:t>12TB</a:t>
            </a:r>
            <a:r>
              <a:rPr lang="ja-JP" altLang="en-US" sz="1200" dirty="0"/>
              <a:t>単位で拡張可能</a:t>
            </a:r>
            <a:endParaRPr lang="en-US" sz="1200" dirty="0"/>
          </a:p>
          <a:p>
            <a:pPr lvl="1"/>
            <a:r>
              <a:rPr lang="ja-JP" altLang="en-US" sz="1200" dirty="0"/>
              <a:t>永久ライセンスを適用するための</a:t>
            </a:r>
            <a:r>
              <a:rPr lang="en-US" altLang="ja-JP" sz="1200" dirty="0"/>
              <a:t>90</a:t>
            </a:r>
            <a:r>
              <a:rPr lang="ja-JP" altLang="en-US" sz="1200" dirty="0"/>
              <a:t>日前のアラート</a:t>
            </a:r>
            <a:endParaRPr lang="en-US" altLang="ja-JP" sz="1200" dirty="0"/>
          </a:p>
        </p:txBody>
      </p:sp>
    </p:spTree>
    <p:extLst>
      <p:ext uri="{BB962C8B-B14F-4D97-AF65-F5344CB8AC3E}">
        <p14:creationId xmlns:p14="http://schemas.microsoft.com/office/powerpoint/2010/main" val="120557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111">
            <a:extLst>
              <a:ext uri="{FF2B5EF4-FFF2-40B4-BE49-F238E27FC236}">
                <a16:creationId xmlns:a16="http://schemas.microsoft.com/office/drawing/2014/main" id="{F01C187D-6DC7-4FC1-AAB6-760C8F95F499}"/>
              </a:ext>
            </a:extLst>
          </p:cNvPr>
          <p:cNvSpPr/>
          <p:nvPr/>
        </p:nvSpPr>
        <p:spPr>
          <a:xfrm>
            <a:off x="-9965" y="1102324"/>
            <a:ext cx="9144000" cy="337940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677038" y="426515"/>
            <a:ext cx="378993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7DB8"/>
              </a:buClr>
            </a:pPr>
            <a:endParaRPr lang="en-US" sz="1200" b="1" spc="300">
              <a:solidFill>
                <a:srgbClr val="007DB8">
                  <a:lumMod val="60000"/>
                  <a:lumOff val="40000"/>
                </a:srgbClr>
              </a:solidFill>
              <a:latin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87384BF-C5BE-4239-802B-88251FCAD023}"/>
              </a:ext>
            </a:extLst>
          </p:cNvPr>
          <p:cNvGrpSpPr/>
          <p:nvPr/>
        </p:nvGrpSpPr>
        <p:grpSpPr>
          <a:xfrm>
            <a:off x="7773621" y="2085058"/>
            <a:ext cx="1125145" cy="687947"/>
            <a:chOff x="4662521" y="1216618"/>
            <a:chExt cx="1125145" cy="687947"/>
          </a:xfrm>
        </p:grpSpPr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9938681B-99A6-BA4D-AAF6-AD4B26F6CFE2}"/>
                </a:ext>
              </a:extLst>
            </p:cNvPr>
            <p:cNvSpPr txBox="1"/>
            <p:nvPr/>
          </p:nvSpPr>
          <p:spPr>
            <a:xfrm>
              <a:off x="4662521" y="1673733"/>
              <a:ext cx="1125145" cy="2308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重複排除</a:t>
              </a: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C98CBB56-457D-5E43-8356-60A97FA1798C}"/>
                </a:ext>
              </a:extLst>
            </p:cNvPr>
            <p:cNvGrpSpPr/>
            <p:nvPr/>
          </p:nvGrpSpPr>
          <p:grpSpPr>
            <a:xfrm>
              <a:off x="5015930" y="1216618"/>
              <a:ext cx="433383" cy="439443"/>
              <a:chOff x="6816725" y="2705100"/>
              <a:chExt cx="1727200" cy="1898650"/>
            </a:xfrm>
            <a:noFill/>
          </p:grpSpPr>
          <p:sp>
            <p:nvSpPr>
              <p:cNvPr id="162" name="Freeform 1">
                <a:extLst>
                  <a:ext uri="{FF2B5EF4-FFF2-40B4-BE49-F238E27FC236}">
                    <a16:creationId xmlns:a16="http://schemas.microsoft.com/office/drawing/2014/main" id="{4C132082-9089-5C45-B2D0-5AC08F6DFD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16725" y="2705100"/>
                <a:ext cx="968375" cy="1284288"/>
              </a:xfrm>
              <a:custGeom>
                <a:avLst/>
                <a:gdLst>
                  <a:gd name="T0" fmla="*/ 2690 w 2691"/>
                  <a:gd name="T1" fmla="*/ 1290 h 3566"/>
                  <a:gd name="T2" fmla="*/ 2690 w 2691"/>
                  <a:gd name="T3" fmla="*/ 836 h 3566"/>
                  <a:gd name="T4" fmla="*/ 1856 w 2691"/>
                  <a:gd name="T5" fmla="*/ 0 h 3566"/>
                  <a:gd name="T6" fmla="*/ 0 w 2691"/>
                  <a:gd name="T7" fmla="*/ 0 h 3566"/>
                  <a:gd name="T8" fmla="*/ 0 w 2691"/>
                  <a:gd name="T9" fmla="*/ 3565 h 3566"/>
                  <a:gd name="T10" fmla="*/ 1684 w 2691"/>
                  <a:gd name="T11" fmla="*/ 3565 h 3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91" h="3566">
                    <a:moveTo>
                      <a:pt x="2690" y="1290"/>
                    </a:moveTo>
                    <a:lnTo>
                      <a:pt x="2690" y="836"/>
                    </a:lnTo>
                    <a:lnTo>
                      <a:pt x="1856" y="0"/>
                    </a:lnTo>
                    <a:lnTo>
                      <a:pt x="0" y="0"/>
                    </a:lnTo>
                    <a:lnTo>
                      <a:pt x="0" y="3565"/>
                    </a:lnTo>
                    <a:lnTo>
                      <a:pt x="1684" y="3565"/>
                    </a:lnTo>
                  </a:path>
                </a:pathLst>
              </a:custGeom>
              <a:grpFill/>
              <a:ln w="22225" cap="flat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1349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3" name="Freeform 2">
                <a:extLst>
                  <a:ext uri="{FF2B5EF4-FFF2-40B4-BE49-F238E27FC236}">
                    <a16:creationId xmlns:a16="http://schemas.microsoft.com/office/drawing/2014/main" id="{B269BE2B-220F-9048-8704-A36E372316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75550" y="3321050"/>
                <a:ext cx="968375" cy="1282700"/>
              </a:xfrm>
              <a:custGeom>
                <a:avLst/>
                <a:gdLst>
                  <a:gd name="T0" fmla="*/ 2691 w 2692"/>
                  <a:gd name="T1" fmla="*/ 3564 h 3565"/>
                  <a:gd name="T2" fmla="*/ 2691 w 2692"/>
                  <a:gd name="T3" fmla="*/ 835 h 3565"/>
                  <a:gd name="T4" fmla="*/ 1854 w 2692"/>
                  <a:gd name="T5" fmla="*/ 0 h 3565"/>
                  <a:gd name="T6" fmla="*/ 0 w 2692"/>
                  <a:gd name="T7" fmla="*/ 0 h 3565"/>
                  <a:gd name="T8" fmla="*/ 0 w 2692"/>
                  <a:gd name="T9" fmla="*/ 3564 h 3565"/>
                  <a:gd name="T10" fmla="*/ 2691 w 2692"/>
                  <a:gd name="T11" fmla="*/ 3564 h 3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92" h="3565">
                    <a:moveTo>
                      <a:pt x="2691" y="3564"/>
                    </a:moveTo>
                    <a:lnTo>
                      <a:pt x="2691" y="835"/>
                    </a:lnTo>
                    <a:lnTo>
                      <a:pt x="1854" y="0"/>
                    </a:lnTo>
                    <a:lnTo>
                      <a:pt x="0" y="0"/>
                    </a:lnTo>
                    <a:lnTo>
                      <a:pt x="0" y="3564"/>
                    </a:lnTo>
                    <a:lnTo>
                      <a:pt x="2691" y="3564"/>
                    </a:lnTo>
                  </a:path>
                </a:pathLst>
              </a:custGeom>
              <a:grpFill/>
              <a:ln w="22225" cap="flat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49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8FD7BFCE-1E4B-E342-81FD-FF6C3DB18891}"/>
                  </a:ext>
                </a:extLst>
              </p:cNvPr>
              <p:cNvGrpSpPr/>
              <p:nvPr/>
            </p:nvGrpSpPr>
            <p:grpSpPr>
              <a:xfrm>
                <a:off x="8062913" y="2843213"/>
                <a:ext cx="481012" cy="392112"/>
                <a:chOff x="8062913" y="2843213"/>
                <a:chExt cx="481012" cy="392112"/>
              </a:xfrm>
              <a:grpFill/>
            </p:grpSpPr>
            <p:sp>
              <p:nvSpPr>
                <p:cNvPr id="168" name="Freeform 3">
                  <a:extLst>
                    <a:ext uri="{FF2B5EF4-FFF2-40B4-BE49-F238E27FC236}">
                      <a16:creationId xmlns:a16="http://schemas.microsoft.com/office/drawing/2014/main" id="{6C68F1D3-24E8-9E41-BCC2-0ABDADEA2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64500" y="3006725"/>
                  <a:ext cx="479425" cy="228600"/>
                </a:xfrm>
                <a:custGeom>
                  <a:avLst/>
                  <a:gdLst>
                    <a:gd name="T0" fmla="*/ 1331 w 1332"/>
                    <a:gd name="T1" fmla="*/ 632 h 633"/>
                    <a:gd name="T2" fmla="*/ 1331 w 1332"/>
                    <a:gd name="T3" fmla="*/ 242 h 633"/>
                    <a:gd name="T4" fmla="*/ 1089 w 1332"/>
                    <a:gd name="T5" fmla="*/ 0 h 633"/>
                    <a:gd name="T6" fmla="*/ 0 w 1332"/>
                    <a:gd name="T7" fmla="*/ 0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32" h="633">
                      <a:moveTo>
                        <a:pt x="1331" y="632"/>
                      </a:moveTo>
                      <a:lnTo>
                        <a:pt x="1331" y="242"/>
                      </a:lnTo>
                      <a:cubicBezTo>
                        <a:pt x="1331" y="108"/>
                        <a:pt x="1223" y="0"/>
                        <a:pt x="1089" y="0"/>
                      </a:cubicBezTo>
                      <a:lnTo>
                        <a:pt x="0" y="0"/>
                      </a:lnTo>
                    </a:path>
                  </a:pathLst>
                </a:custGeom>
                <a:grpFill/>
                <a:ln w="22225" cap="flat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49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9" name="Freeform 4">
                  <a:extLst>
                    <a:ext uri="{FF2B5EF4-FFF2-40B4-BE49-F238E27FC236}">
                      <a16:creationId xmlns:a16="http://schemas.microsoft.com/office/drawing/2014/main" id="{C7023C9D-B6D8-C44B-B7C2-8E99DD2FF3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62913" y="2843213"/>
                  <a:ext cx="163512" cy="327025"/>
                </a:xfrm>
                <a:custGeom>
                  <a:avLst/>
                  <a:gdLst>
                    <a:gd name="T0" fmla="*/ 455 w 456"/>
                    <a:gd name="T1" fmla="*/ 908 h 909"/>
                    <a:gd name="T2" fmla="*/ 0 w 456"/>
                    <a:gd name="T3" fmla="*/ 454 h 909"/>
                    <a:gd name="T4" fmla="*/ 455 w 456"/>
                    <a:gd name="T5" fmla="*/ 0 h 9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56" h="909">
                      <a:moveTo>
                        <a:pt x="455" y="908"/>
                      </a:moveTo>
                      <a:lnTo>
                        <a:pt x="0" y="454"/>
                      </a:lnTo>
                      <a:lnTo>
                        <a:pt x="455" y="0"/>
                      </a:lnTo>
                    </a:path>
                  </a:pathLst>
                </a:custGeom>
                <a:grpFill/>
                <a:ln w="22225" cap="flat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49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7F0142E6-2AAB-AE4E-9DE4-9465CA473096}"/>
                  </a:ext>
                </a:extLst>
              </p:cNvPr>
              <p:cNvGrpSpPr/>
              <p:nvPr/>
            </p:nvGrpSpPr>
            <p:grpSpPr>
              <a:xfrm>
                <a:off x="6816725" y="4102100"/>
                <a:ext cx="479425" cy="390525"/>
                <a:chOff x="6816725" y="4102100"/>
                <a:chExt cx="479425" cy="390525"/>
              </a:xfrm>
              <a:grpFill/>
            </p:grpSpPr>
            <p:sp>
              <p:nvSpPr>
                <p:cNvPr id="166" name="Freeform 5">
                  <a:extLst>
                    <a:ext uri="{FF2B5EF4-FFF2-40B4-BE49-F238E27FC236}">
                      <a16:creationId xmlns:a16="http://schemas.microsoft.com/office/drawing/2014/main" id="{3E630AA8-FFCA-DC4F-A00D-FE50EBB08C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16725" y="4102100"/>
                  <a:ext cx="479425" cy="227013"/>
                </a:xfrm>
                <a:custGeom>
                  <a:avLst/>
                  <a:gdLst>
                    <a:gd name="T0" fmla="*/ 0 w 1332"/>
                    <a:gd name="T1" fmla="*/ 0 h 632"/>
                    <a:gd name="T2" fmla="*/ 0 w 1332"/>
                    <a:gd name="T3" fmla="*/ 389 h 632"/>
                    <a:gd name="T4" fmla="*/ 242 w 1332"/>
                    <a:gd name="T5" fmla="*/ 631 h 632"/>
                    <a:gd name="T6" fmla="*/ 1331 w 1332"/>
                    <a:gd name="T7" fmla="*/ 631 h 6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32" h="632">
                      <a:moveTo>
                        <a:pt x="0" y="0"/>
                      </a:moveTo>
                      <a:lnTo>
                        <a:pt x="0" y="389"/>
                      </a:lnTo>
                      <a:cubicBezTo>
                        <a:pt x="0" y="523"/>
                        <a:pt x="108" y="631"/>
                        <a:pt x="242" y="631"/>
                      </a:cubicBezTo>
                      <a:lnTo>
                        <a:pt x="1331" y="631"/>
                      </a:lnTo>
                    </a:path>
                  </a:pathLst>
                </a:custGeom>
                <a:grpFill/>
                <a:ln w="22225" cap="flat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49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7" name="Freeform 6">
                  <a:extLst>
                    <a:ext uri="{FF2B5EF4-FFF2-40B4-BE49-F238E27FC236}">
                      <a16:creationId xmlns:a16="http://schemas.microsoft.com/office/drawing/2014/main" id="{15B4F12E-9EE8-4E4B-BEBB-DC174A7A7B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32638" y="4165600"/>
                  <a:ext cx="163512" cy="327025"/>
                </a:xfrm>
                <a:custGeom>
                  <a:avLst/>
                  <a:gdLst>
                    <a:gd name="T0" fmla="*/ 0 w 456"/>
                    <a:gd name="T1" fmla="*/ 0 h 909"/>
                    <a:gd name="T2" fmla="*/ 455 w 456"/>
                    <a:gd name="T3" fmla="*/ 453 h 909"/>
                    <a:gd name="T4" fmla="*/ 0 w 456"/>
                    <a:gd name="T5" fmla="*/ 908 h 9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56" h="909">
                      <a:moveTo>
                        <a:pt x="0" y="0"/>
                      </a:moveTo>
                      <a:lnTo>
                        <a:pt x="455" y="453"/>
                      </a:lnTo>
                      <a:lnTo>
                        <a:pt x="0" y="908"/>
                      </a:lnTo>
                    </a:path>
                  </a:pathLst>
                </a:custGeom>
                <a:grpFill/>
                <a:ln w="22225" cap="flat">
                  <a:solidFill>
                    <a:schemeClr val="tx2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349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45D21DF-C39A-4430-90D4-7D206EAD2098}"/>
              </a:ext>
            </a:extLst>
          </p:cNvPr>
          <p:cNvGrpSpPr/>
          <p:nvPr/>
        </p:nvGrpSpPr>
        <p:grpSpPr>
          <a:xfrm>
            <a:off x="673539" y="3459033"/>
            <a:ext cx="845452" cy="822047"/>
            <a:chOff x="751704" y="1240509"/>
            <a:chExt cx="845452" cy="822046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A363B395-F8B9-4944-8AE4-6EECC2600547}"/>
                </a:ext>
              </a:extLst>
            </p:cNvPr>
            <p:cNvSpPr txBox="1"/>
            <p:nvPr/>
          </p:nvSpPr>
          <p:spPr>
            <a:xfrm>
              <a:off x="751704" y="1693224"/>
              <a:ext cx="845452" cy="36933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バックアップと復元</a:t>
              </a: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130077C9-69BF-DF48-9CB9-993EC06EBD4B}"/>
                </a:ext>
              </a:extLst>
            </p:cNvPr>
            <p:cNvGrpSpPr/>
            <p:nvPr/>
          </p:nvGrpSpPr>
          <p:grpSpPr>
            <a:xfrm>
              <a:off x="880417" y="1240509"/>
              <a:ext cx="582702" cy="428284"/>
              <a:chOff x="1637789" y="2056211"/>
              <a:chExt cx="582703" cy="490219"/>
            </a:xfrm>
          </p:grpSpPr>
          <p:sp>
            <p:nvSpPr>
              <p:cNvPr id="115" name="Freeform 61">
                <a:extLst>
                  <a:ext uri="{FF2B5EF4-FFF2-40B4-BE49-F238E27FC236}">
                    <a16:creationId xmlns:a16="http://schemas.microsoft.com/office/drawing/2014/main" id="{CF9E0E53-856F-5446-BDEA-E8D7D6B56A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37789" y="2056211"/>
                <a:ext cx="219652" cy="286232"/>
              </a:xfrm>
              <a:custGeom>
                <a:avLst/>
                <a:gdLst>
                  <a:gd name="T0" fmla="*/ 129 w 257"/>
                  <a:gd name="T1" fmla="*/ 0 h 335"/>
                  <a:gd name="T2" fmla="*/ 0 w 257"/>
                  <a:gd name="T3" fmla="*/ 46 h 335"/>
                  <a:gd name="T4" fmla="*/ 0 w 257"/>
                  <a:gd name="T5" fmla="*/ 289 h 335"/>
                  <a:gd name="T6" fmla="*/ 129 w 257"/>
                  <a:gd name="T7" fmla="*/ 335 h 335"/>
                  <a:gd name="T8" fmla="*/ 257 w 257"/>
                  <a:gd name="T9" fmla="*/ 289 h 335"/>
                  <a:gd name="T10" fmla="*/ 257 w 257"/>
                  <a:gd name="T11" fmla="*/ 46 h 335"/>
                  <a:gd name="T12" fmla="*/ 129 w 257"/>
                  <a:gd name="T13" fmla="*/ 0 h 335"/>
                  <a:gd name="T14" fmla="*/ 129 w 257"/>
                  <a:gd name="T15" fmla="*/ 12 h 335"/>
                  <a:gd name="T16" fmla="*/ 245 w 257"/>
                  <a:gd name="T17" fmla="*/ 46 h 335"/>
                  <a:gd name="T18" fmla="*/ 129 w 257"/>
                  <a:gd name="T19" fmla="*/ 81 h 335"/>
                  <a:gd name="T20" fmla="*/ 12 w 257"/>
                  <a:gd name="T21" fmla="*/ 46 h 335"/>
                  <a:gd name="T22" fmla="*/ 129 w 257"/>
                  <a:gd name="T23" fmla="*/ 12 h 335"/>
                  <a:gd name="T24" fmla="*/ 129 w 257"/>
                  <a:gd name="T25" fmla="*/ 323 h 335"/>
                  <a:gd name="T26" fmla="*/ 12 w 257"/>
                  <a:gd name="T27" fmla="*/ 289 h 335"/>
                  <a:gd name="T28" fmla="*/ 12 w 257"/>
                  <a:gd name="T29" fmla="*/ 228 h 335"/>
                  <a:gd name="T30" fmla="*/ 129 w 257"/>
                  <a:gd name="T31" fmla="*/ 254 h 335"/>
                  <a:gd name="T32" fmla="*/ 245 w 257"/>
                  <a:gd name="T33" fmla="*/ 228 h 335"/>
                  <a:gd name="T34" fmla="*/ 245 w 257"/>
                  <a:gd name="T35" fmla="*/ 289 h 335"/>
                  <a:gd name="T36" fmla="*/ 129 w 257"/>
                  <a:gd name="T37" fmla="*/ 323 h 335"/>
                  <a:gd name="T38" fmla="*/ 129 w 257"/>
                  <a:gd name="T39" fmla="*/ 242 h 335"/>
                  <a:gd name="T40" fmla="*/ 12 w 257"/>
                  <a:gd name="T41" fmla="*/ 208 h 335"/>
                  <a:gd name="T42" fmla="*/ 12 w 257"/>
                  <a:gd name="T43" fmla="*/ 147 h 335"/>
                  <a:gd name="T44" fmla="*/ 129 w 257"/>
                  <a:gd name="T45" fmla="*/ 173 h 335"/>
                  <a:gd name="T46" fmla="*/ 245 w 257"/>
                  <a:gd name="T47" fmla="*/ 147 h 335"/>
                  <a:gd name="T48" fmla="*/ 245 w 257"/>
                  <a:gd name="T49" fmla="*/ 208 h 335"/>
                  <a:gd name="T50" fmla="*/ 129 w 257"/>
                  <a:gd name="T51" fmla="*/ 242 h 335"/>
                  <a:gd name="T52" fmla="*/ 129 w 257"/>
                  <a:gd name="T53" fmla="*/ 161 h 335"/>
                  <a:gd name="T54" fmla="*/ 12 w 257"/>
                  <a:gd name="T55" fmla="*/ 127 h 335"/>
                  <a:gd name="T56" fmla="*/ 12 w 257"/>
                  <a:gd name="T57" fmla="*/ 67 h 335"/>
                  <a:gd name="T58" fmla="*/ 129 w 257"/>
                  <a:gd name="T59" fmla="*/ 93 h 335"/>
                  <a:gd name="T60" fmla="*/ 245 w 257"/>
                  <a:gd name="T61" fmla="*/ 67 h 335"/>
                  <a:gd name="T62" fmla="*/ 245 w 257"/>
                  <a:gd name="T63" fmla="*/ 127 h 335"/>
                  <a:gd name="T64" fmla="*/ 129 w 257"/>
                  <a:gd name="T65" fmla="*/ 161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7" h="335">
                    <a:moveTo>
                      <a:pt x="129" y="0"/>
                    </a:moveTo>
                    <a:cubicBezTo>
                      <a:pt x="66" y="0"/>
                      <a:pt x="0" y="16"/>
                      <a:pt x="0" y="46"/>
                    </a:cubicBezTo>
                    <a:cubicBezTo>
                      <a:pt x="0" y="289"/>
                      <a:pt x="0" y="289"/>
                      <a:pt x="0" y="289"/>
                    </a:cubicBezTo>
                    <a:cubicBezTo>
                      <a:pt x="0" y="319"/>
                      <a:pt x="66" y="335"/>
                      <a:pt x="129" y="335"/>
                    </a:cubicBezTo>
                    <a:cubicBezTo>
                      <a:pt x="191" y="335"/>
                      <a:pt x="257" y="319"/>
                      <a:pt x="257" y="289"/>
                    </a:cubicBezTo>
                    <a:cubicBezTo>
                      <a:pt x="257" y="46"/>
                      <a:pt x="257" y="46"/>
                      <a:pt x="257" y="46"/>
                    </a:cubicBezTo>
                    <a:cubicBezTo>
                      <a:pt x="257" y="16"/>
                      <a:pt x="191" y="0"/>
                      <a:pt x="129" y="0"/>
                    </a:cubicBezTo>
                    <a:close/>
                    <a:moveTo>
                      <a:pt x="129" y="12"/>
                    </a:moveTo>
                    <a:cubicBezTo>
                      <a:pt x="195" y="12"/>
                      <a:pt x="245" y="30"/>
                      <a:pt x="245" y="46"/>
                    </a:cubicBezTo>
                    <a:cubicBezTo>
                      <a:pt x="245" y="62"/>
                      <a:pt x="195" y="81"/>
                      <a:pt x="129" y="81"/>
                    </a:cubicBezTo>
                    <a:cubicBezTo>
                      <a:pt x="62" y="81"/>
                      <a:pt x="12" y="62"/>
                      <a:pt x="12" y="46"/>
                    </a:cubicBezTo>
                    <a:cubicBezTo>
                      <a:pt x="12" y="30"/>
                      <a:pt x="62" y="12"/>
                      <a:pt x="129" y="12"/>
                    </a:cubicBezTo>
                    <a:close/>
                    <a:moveTo>
                      <a:pt x="129" y="323"/>
                    </a:moveTo>
                    <a:cubicBezTo>
                      <a:pt x="62" y="323"/>
                      <a:pt x="12" y="305"/>
                      <a:pt x="12" y="289"/>
                    </a:cubicBezTo>
                    <a:cubicBezTo>
                      <a:pt x="12" y="228"/>
                      <a:pt x="12" y="228"/>
                      <a:pt x="12" y="228"/>
                    </a:cubicBezTo>
                    <a:cubicBezTo>
                      <a:pt x="34" y="245"/>
                      <a:pt x="82" y="254"/>
                      <a:pt x="129" y="254"/>
                    </a:cubicBezTo>
                    <a:cubicBezTo>
                      <a:pt x="175" y="254"/>
                      <a:pt x="223" y="245"/>
                      <a:pt x="245" y="228"/>
                    </a:cubicBezTo>
                    <a:cubicBezTo>
                      <a:pt x="245" y="289"/>
                      <a:pt x="245" y="289"/>
                      <a:pt x="245" y="289"/>
                    </a:cubicBezTo>
                    <a:cubicBezTo>
                      <a:pt x="245" y="305"/>
                      <a:pt x="195" y="323"/>
                      <a:pt x="129" y="323"/>
                    </a:cubicBezTo>
                    <a:close/>
                    <a:moveTo>
                      <a:pt x="129" y="242"/>
                    </a:moveTo>
                    <a:cubicBezTo>
                      <a:pt x="62" y="242"/>
                      <a:pt x="12" y="224"/>
                      <a:pt x="12" y="208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34" y="164"/>
                      <a:pt x="82" y="173"/>
                      <a:pt x="129" y="173"/>
                    </a:cubicBezTo>
                    <a:cubicBezTo>
                      <a:pt x="175" y="173"/>
                      <a:pt x="223" y="164"/>
                      <a:pt x="245" y="147"/>
                    </a:cubicBezTo>
                    <a:cubicBezTo>
                      <a:pt x="245" y="208"/>
                      <a:pt x="245" y="208"/>
                      <a:pt x="245" y="208"/>
                    </a:cubicBezTo>
                    <a:cubicBezTo>
                      <a:pt x="245" y="224"/>
                      <a:pt x="195" y="242"/>
                      <a:pt x="129" y="242"/>
                    </a:cubicBezTo>
                    <a:close/>
                    <a:moveTo>
                      <a:pt x="129" y="161"/>
                    </a:moveTo>
                    <a:cubicBezTo>
                      <a:pt x="62" y="161"/>
                      <a:pt x="12" y="143"/>
                      <a:pt x="12" y="127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34" y="84"/>
                      <a:pt x="82" y="93"/>
                      <a:pt x="129" y="93"/>
                    </a:cubicBezTo>
                    <a:cubicBezTo>
                      <a:pt x="175" y="93"/>
                      <a:pt x="223" y="84"/>
                      <a:pt x="245" y="67"/>
                    </a:cubicBezTo>
                    <a:cubicBezTo>
                      <a:pt x="245" y="127"/>
                      <a:pt x="245" y="127"/>
                      <a:pt x="245" y="127"/>
                    </a:cubicBezTo>
                    <a:cubicBezTo>
                      <a:pt x="245" y="143"/>
                      <a:pt x="195" y="161"/>
                      <a:pt x="129" y="161"/>
                    </a:cubicBezTo>
                    <a:close/>
                  </a:path>
                </a:pathLst>
              </a:custGeom>
              <a:solidFill>
                <a:schemeClr val="tx2"/>
              </a:solidFill>
              <a:ln w="12700"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49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116" name="Freeform 61">
                <a:extLst>
                  <a:ext uri="{FF2B5EF4-FFF2-40B4-BE49-F238E27FC236}">
                    <a16:creationId xmlns:a16="http://schemas.microsoft.com/office/drawing/2014/main" id="{EB3D8D3F-553D-A445-822C-D8DB84540B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0840" y="2260198"/>
                <a:ext cx="219652" cy="286232"/>
              </a:xfrm>
              <a:custGeom>
                <a:avLst/>
                <a:gdLst>
                  <a:gd name="T0" fmla="*/ 129 w 257"/>
                  <a:gd name="T1" fmla="*/ 0 h 335"/>
                  <a:gd name="T2" fmla="*/ 0 w 257"/>
                  <a:gd name="T3" fmla="*/ 46 h 335"/>
                  <a:gd name="T4" fmla="*/ 0 w 257"/>
                  <a:gd name="T5" fmla="*/ 289 h 335"/>
                  <a:gd name="T6" fmla="*/ 129 w 257"/>
                  <a:gd name="T7" fmla="*/ 335 h 335"/>
                  <a:gd name="T8" fmla="*/ 257 w 257"/>
                  <a:gd name="T9" fmla="*/ 289 h 335"/>
                  <a:gd name="T10" fmla="*/ 257 w 257"/>
                  <a:gd name="T11" fmla="*/ 46 h 335"/>
                  <a:gd name="T12" fmla="*/ 129 w 257"/>
                  <a:gd name="T13" fmla="*/ 0 h 335"/>
                  <a:gd name="T14" fmla="*/ 129 w 257"/>
                  <a:gd name="T15" fmla="*/ 12 h 335"/>
                  <a:gd name="T16" fmla="*/ 245 w 257"/>
                  <a:gd name="T17" fmla="*/ 46 h 335"/>
                  <a:gd name="T18" fmla="*/ 129 w 257"/>
                  <a:gd name="T19" fmla="*/ 81 h 335"/>
                  <a:gd name="T20" fmla="*/ 12 w 257"/>
                  <a:gd name="T21" fmla="*/ 46 h 335"/>
                  <a:gd name="T22" fmla="*/ 129 w 257"/>
                  <a:gd name="T23" fmla="*/ 12 h 335"/>
                  <a:gd name="T24" fmla="*/ 129 w 257"/>
                  <a:gd name="T25" fmla="*/ 323 h 335"/>
                  <a:gd name="T26" fmla="*/ 12 w 257"/>
                  <a:gd name="T27" fmla="*/ 289 h 335"/>
                  <a:gd name="T28" fmla="*/ 12 w 257"/>
                  <a:gd name="T29" fmla="*/ 228 h 335"/>
                  <a:gd name="T30" fmla="*/ 129 w 257"/>
                  <a:gd name="T31" fmla="*/ 254 h 335"/>
                  <a:gd name="T32" fmla="*/ 245 w 257"/>
                  <a:gd name="T33" fmla="*/ 228 h 335"/>
                  <a:gd name="T34" fmla="*/ 245 w 257"/>
                  <a:gd name="T35" fmla="*/ 289 h 335"/>
                  <a:gd name="T36" fmla="*/ 129 w 257"/>
                  <a:gd name="T37" fmla="*/ 323 h 335"/>
                  <a:gd name="T38" fmla="*/ 129 w 257"/>
                  <a:gd name="T39" fmla="*/ 242 h 335"/>
                  <a:gd name="T40" fmla="*/ 12 w 257"/>
                  <a:gd name="T41" fmla="*/ 208 h 335"/>
                  <a:gd name="T42" fmla="*/ 12 w 257"/>
                  <a:gd name="T43" fmla="*/ 147 h 335"/>
                  <a:gd name="T44" fmla="*/ 129 w 257"/>
                  <a:gd name="T45" fmla="*/ 173 h 335"/>
                  <a:gd name="T46" fmla="*/ 245 w 257"/>
                  <a:gd name="T47" fmla="*/ 147 h 335"/>
                  <a:gd name="T48" fmla="*/ 245 w 257"/>
                  <a:gd name="T49" fmla="*/ 208 h 335"/>
                  <a:gd name="T50" fmla="*/ 129 w 257"/>
                  <a:gd name="T51" fmla="*/ 242 h 335"/>
                  <a:gd name="T52" fmla="*/ 129 w 257"/>
                  <a:gd name="T53" fmla="*/ 161 h 335"/>
                  <a:gd name="T54" fmla="*/ 12 w 257"/>
                  <a:gd name="T55" fmla="*/ 127 h 335"/>
                  <a:gd name="T56" fmla="*/ 12 w 257"/>
                  <a:gd name="T57" fmla="*/ 67 h 335"/>
                  <a:gd name="T58" fmla="*/ 129 w 257"/>
                  <a:gd name="T59" fmla="*/ 93 h 335"/>
                  <a:gd name="T60" fmla="*/ 245 w 257"/>
                  <a:gd name="T61" fmla="*/ 67 h 335"/>
                  <a:gd name="T62" fmla="*/ 245 w 257"/>
                  <a:gd name="T63" fmla="*/ 127 h 335"/>
                  <a:gd name="T64" fmla="*/ 129 w 257"/>
                  <a:gd name="T65" fmla="*/ 161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7" h="335">
                    <a:moveTo>
                      <a:pt x="129" y="0"/>
                    </a:moveTo>
                    <a:cubicBezTo>
                      <a:pt x="66" y="0"/>
                      <a:pt x="0" y="16"/>
                      <a:pt x="0" y="46"/>
                    </a:cubicBezTo>
                    <a:cubicBezTo>
                      <a:pt x="0" y="289"/>
                      <a:pt x="0" y="289"/>
                      <a:pt x="0" y="289"/>
                    </a:cubicBezTo>
                    <a:cubicBezTo>
                      <a:pt x="0" y="319"/>
                      <a:pt x="66" y="335"/>
                      <a:pt x="129" y="335"/>
                    </a:cubicBezTo>
                    <a:cubicBezTo>
                      <a:pt x="191" y="335"/>
                      <a:pt x="257" y="319"/>
                      <a:pt x="257" y="289"/>
                    </a:cubicBezTo>
                    <a:cubicBezTo>
                      <a:pt x="257" y="46"/>
                      <a:pt x="257" y="46"/>
                      <a:pt x="257" y="46"/>
                    </a:cubicBezTo>
                    <a:cubicBezTo>
                      <a:pt x="257" y="16"/>
                      <a:pt x="191" y="0"/>
                      <a:pt x="129" y="0"/>
                    </a:cubicBezTo>
                    <a:close/>
                    <a:moveTo>
                      <a:pt x="129" y="12"/>
                    </a:moveTo>
                    <a:cubicBezTo>
                      <a:pt x="195" y="12"/>
                      <a:pt x="245" y="30"/>
                      <a:pt x="245" y="46"/>
                    </a:cubicBezTo>
                    <a:cubicBezTo>
                      <a:pt x="245" y="62"/>
                      <a:pt x="195" y="81"/>
                      <a:pt x="129" y="81"/>
                    </a:cubicBezTo>
                    <a:cubicBezTo>
                      <a:pt x="62" y="81"/>
                      <a:pt x="12" y="62"/>
                      <a:pt x="12" y="46"/>
                    </a:cubicBezTo>
                    <a:cubicBezTo>
                      <a:pt x="12" y="30"/>
                      <a:pt x="62" y="12"/>
                      <a:pt x="129" y="12"/>
                    </a:cubicBezTo>
                    <a:close/>
                    <a:moveTo>
                      <a:pt x="129" y="323"/>
                    </a:moveTo>
                    <a:cubicBezTo>
                      <a:pt x="62" y="323"/>
                      <a:pt x="12" y="305"/>
                      <a:pt x="12" y="289"/>
                    </a:cubicBezTo>
                    <a:cubicBezTo>
                      <a:pt x="12" y="228"/>
                      <a:pt x="12" y="228"/>
                      <a:pt x="12" y="228"/>
                    </a:cubicBezTo>
                    <a:cubicBezTo>
                      <a:pt x="34" y="245"/>
                      <a:pt x="82" y="254"/>
                      <a:pt x="129" y="254"/>
                    </a:cubicBezTo>
                    <a:cubicBezTo>
                      <a:pt x="175" y="254"/>
                      <a:pt x="223" y="245"/>
                      <a:pt x="245" y="228"/>
                    </a:cubicBezTo>
                    <a:cubicBezTo>
                      <a:pt x="245" y="289"/>
                      <a:pt x="245" y="289"/>
                      <a:pt x="245" y="289"/>
                    </a:cubicBezTo>
                    <a:cubicBezTo>
                      <a:pt x="245" y="305"/>
                      <a:pt x="195" y="323"/>
                      <a:pt x="129" y="323"/>
                    </a:cubicBezTo>
                    <a:close/>
                    <a:moveTo>
                      <a:pt x="129" y="242"/>
                    </a:moveTo>
                    <a:cubicBezTo>
                      <a:pt x="62" y="242"/>
                      <a:pt x="12" y="224"/>
                      <a:pt x="12" y="208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34" y="164"/>
                      <a:pt x="82" y="173"/>
                      <a:pt x="129" y="173"/>
                    </a:cubicBezTo>
                    <a:cubicBezTo>
                      <a:pt x="175" y="173"/>
                      <a:pt x="223" y="164"/>
                      <a:pt x="245" y="147"/>
                    </a:cubicBezTo>
                    <a:cubicBezTo>
                      <a:pt x="245" y="208"/>
                      <a:pt x="245" y="208"/>
                      <a:pt x="245" y="208"/>
                    </a:cubicBezTo>
                    <a:cubicBezTo>
                      <a:pt x="245" y="224"/>
                      <a:pt x="195" y="242"/>
                      <a:pt x="129" y="242"/>
                    </a:cubicBezTo>
                    <a:close/>
                    <a:moveTo>
                      <a:pt x="129" y="161"/>
                    </a:moveTo>
                    <a:cubicBezTo>
                      <a:pt x="62" y="161"/>
                      <a:pt x="12" y="143"/>
                      <a:pt x="12" y="127"/>
                    </a:cubicBezTo>
                    <a:cubicBezTo>
                      <a:pt x="12" y="67"/>
                      <a:pt x="12" y="67"/>
                      <a:pt x="12" y="67"/>
                    </a:cubicBezTo>
                    <a:cubicBezTo>
                      <a:pt x="34" y="84"/>
                      <a:pt x="82" y="93"/>
                      <a:pt x="129" y="93"/>
                    </a:cubicBezTo>
                    <a:cubicBezTo>
                      <a:pt x="175" y="93"/>
                      <a:pt x="223" y="84"/>
                      <a:pt x="245" y="67"/>
                    </a:cubicBezTo>
                    <a:cubicBezTo>
                      <a:pt x="245" y="127"/>
                      <a:pt x="245" y="127"/>
                      <a:pt x="245" y="127"/>
                    </a:cubicBezTo>
                    <a:cubicBezTo>
                      <a:pt x="245" y="143"/>
                      <a:pt x="195" y="161"/>
                      <a:pt x="129" y="161"/>
                    </a:cubicBezTo>
                    <a:close/>
                  </a:path>
                </a:pathLst>
              </a:custGeom>
              <a:solidFill>
                <a:schemeClr val="tx2"/>
              </a:solidFill>
              <a:ln w="12700"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49">
                  <a:solidFill>
                    <a:srgbClr val="444444"/>
                  </a:solidFill>
                  <a:latin typeface="Arial"/>
                </a:endParaRPr>
              </a:p>
            </p:txBody>
          </p:sp>
          <p:cxnSp>
            <p:nvCxnSpPr>
              <p:cNvPr id="117" name="Connector: Elbow 181">
                <a:extLst>
                  <a:ext uri="{FF2B5EF4-FFF2-40B4-BE49-F238E27FC236}">
                    <a16:creationId xmlns:a16="http://schemas.microsoft.com/office/drawing/2014/main" id="{F530F948-D810-B14E-8511-5E04CFF0E3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3773" y="2135446"/>
                <a:ext cx="208951" cy="95717"/>
              </a:xfrm>
              <a:prstGeom prst="bentConnector3">
                <a:avLst>
                  <a:gd name="adj1" fmla="val 102253"/>
                </a:avLst>
              </a:prstGeom>
              <a:ln w="12700" cmpd="sng">
                <a:solidFill>
                  <a:srgbClr val="FFFFFF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Connector: Elbow 185">
                <a:extLst>
                  <a:ext uri="{FF2B5EF4-FFF2-40B4-BE49-F238E27FC236}">
                    <a16:creationId xmlns:a16="http://schemas.microsoft.com/office/drawing/2014/main" id="{BDA28361-4E83-6346-B8FE-DD14492FF33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1760446" y="2374683"/>
                <a:ext cx="208951" cy="95717"/>
              </a:xfrm>
              <a:prstGeom prst="bentConnector3">
                <a:avLst>
                  <a:gd name="adj1" fmla="val 102253"/>
                </a:avLst>
              </a:prstGeom>
              <a:ln w="12700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4890F68-6555-413C-911D-357D66D1A1E0}"/>
              </a:ext>
            </a:extLst>
          </p:cNvPr>
          <p:cNvGrpSpPr/>
          <p:nvPr/>
        </p:nvGrpSpPr>
        <p:grpSpPr>
          <a:xfrm>
            <a:off x="7743943" y="3475850"/>
            <a:ext cx="1006765" cy="619884"/>
            <a:chOff x="3478062" y="1240509"/>
            <a:chExt cx="1006765" cy="619884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D0A3498-8CB5-B546-B1E0-2294BB0EADBD}"/>
                </a:ext>
              </a:extLst>
            </p:cNvPr>
            <p:cNvSpPr txBox="1"/>
            <p:nvPr/>
          </p:nvSpPr>
          <p:spPr>
            <a:xfrm>
              <a:off x="3478062" y="1629561"/>
              <a:ext cx="1006765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災害復旧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E7CC47D2-099E-B94A-B0A0-7C0748753F4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54785" y="1240509"/>
              <a:ext cx="780443" cy="390705"/>
              <a:chOff x="6862899" y="2774249"/>
              <a:chExt cx="770310" cy="513972"/>
            </a:xfrm>
            <a:solidFill>
              <a:schemeClr val="tx2"/>
            </a:solidFill>
          </p:grpSpPr>
          <p:sp>
            <p:nvSpPr>
              <p:cNvPr id="122" name="Freeform 219">
                <a:extLst>
                  <a:ext uri="{FF2B5EF4-FFF2-40B4-BE49-F238E27FC236}">
                    <a16:creationId xmlns:a16="http://schemas.microsoft.com/office/drawing/2014/main" id="{21C9702C-38E6-EF4B-AC80-0A571F8A6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4019" y="2774249"/>
                <a:ext cx="349190" cy="350495"/>
              </a:xfrm>
              <a:custGeom>
                <a:avLst/>
                <a:gdLst>
                  <a:gd name="T0" fmla="*/ 534 w 534"/>
                  <a:gd name="T1" fmla="*/ 536 h 536"/>
                  <a:gd name="T2" fmla="*/ 506 w 534"/>
                  <a:gd name="T3" fmla="*/ 536 h 536"/>
                  <a:gd name="T4" fmla="*/ 506 w 534"/>
                  <a:gd name="T5" fmla="*/ 29 h 536"/>
                  <a:gd name="T6" fmla="*/ 28 w 534"/>
                  <a:gd name="T7" fmla="*/ 29 h 536"/>
                  <a:gd name="T8" fmla="*/ 28 w 534"/>
                  <a:gd name="T9" fmla="*/ 536 h 536"/>
                  <a:gd name="T10" fmla="*/ 0 w 534"/>
                  <a:gd name="T11" fmla="*/ 536 h 536"/>
                  <a:gd name="T12" fmla="*/ 0 w 534"/>
                  <a:gd name="T13" fmla="*/ 0 h 536"/>
                  <a:gd name="T14" fmla="*/ 534 w 534"/>
                  <a:gd name="T15" fmla="*/ 0 h 536"/>
                  <a:gd name="T16" fmla="*/ 534 w 534"/>
                  <a:gd name="T17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536">
                    <a:moveTo>
                      <a:pt x="534" y="536"/>
                    </a:moveTo>
                    <a:lnTo>
                      <a:pt x="506" y="536"/>
                    </a:lnTo>
                    <a:lnTo>
                      <a:pt x="506" y="29"/>
                    </a:lnTo>
                    <a:lnTo>
                      <a:pt x="28" y="29"/>
                    </a:lnTo>
                    <a:lnTo>
                      <a:pt x="2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534" y="0"/>
                    </a:lnTo>
                    <a:lnTo>
                      <a:pt x="534" y="536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23" name="Freeform 220">
                <a:extLst>
                  <a:ext uri="{FF2B5EF4-FFF2-40B4-BE49-F238E27FC236}">
                    <a16:creationId xmlns:a16="http://schemas.microsoft.com/office/drawing/2014/main" id="{B31E703D-80E4-5347-B929-0396361B3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4019" y="2937726"/>
                <a:ext cx="349190" cy="350495"/>
              </a:xfrm>
              <a:custGeom>
                <a:avLst/>
                <a:gdLst>
                  <a:gd name="T0" fmla="*/ 534 w 534"/>
                  <a:gd name="T1" fmla="*/ 536 h 536"/>
                  <a:gd name="T2" fmla="*/ 0 w 534"/>
                  <a:gd name="T3" fmla="*/ 536 h 536"/>
                  <a:gd name="T4" fmla="*/ 0 w 534"/>
                  <a:gd name="T5" fmla="*/ 0 h 536"/>
                  <a:gd name="T6" fmla="*/ 28 w 534"/>
                  <a:gd name="T7" fmla="*/ 0 h 536"/>
                  <a:gd name="T8" fmla="*/ 28 w 534"/>
                  <a:gd name="T9" fmla="*/ 507 h 536"/>
                  <a:gd name="T10" fmla="*/ 506 w 534"/>
                  <a:gd name="T11" fmla="*/ 507 h 536"/>
                  <a:gd name="T12" fmla="*/ 506 w 534"/>
                  <a:gd name="T13" fmla="*/ 0 h 536"/>
                  <a:gd name="T14" fmla="*/ 534 w 534"/>
                  <a:gd name="T15" fmla="*/ 0 h 536"/>
                  <a:gd name="T16" fmla="*/ 534 w 534"/>
                  <a:gd name="T17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536">
                    <a:moveTo>
                      <a:pt x="534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8" y="507"/>
                    </a:lnTo>
                    <a:lnTo>
                      <a:pt x="506" y="507"/>
                    </a:lnTo>
                    <a:lnTo>
                      <a:pt x="506" y="0"/>
                    </a:lnTo>
                    <a:lnTo>
                      <a:pt x="534" y="0"/>
                    </a:lnTo>
                    <a:lnTo>
                      <a:pt x="534" y="536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24" name="Rectangle 221">
                <a:extLst>
                  <a:ext uri="{FF2B5EF4-FFF2-40B4-BE49-F238E27FC236}">
                    <a16:creationId xmlns:a16="http://schemas.microsoft.com/office/drawing/2014/main" id="{A993CC4A-B449-FA45-8718-A15E8BEEA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59873" y="2864488"/>
                <a:ext cx="197482" cy="18963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25" name="Rectangle 222">
                <a:extLst>
                  <a:ext uri="{FF2B5EF4-FFF2-40B4-BE49-F238E27FC236}">
                    <a16:creationId xmlns:a16="http://schemas.microsoft.com/office/drawing/2014/main" id="{1F1C289E-5AC8-0F4D-9490-0E50CB19EE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59873" y="2926610"/>
                <a:ext cx="197482" cy="18963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26" name="Freeform 223">
                <a:extLst>
                  <a:ext uri="{FF2B5EF4-FFF2-40B4-BE49-F238E27FC236}">
                    <a16:creationId xmlns:a16="http://schemas.microsoft.com/office/drawing/2014/main" id="{D09FD94B-7861-5D40-A269-2D31965F5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9571" y="2992000"/>
                <a:ext cx="98087" cy="81085"/>
              </a:xfrm>
              <a:custGeom>
                <a:avLst/>
                <a:gdLst>
                  <a:gd name="T0" fmla="*/ 48 w 150"/>
                  <a:gd name="T1" fmla="*/ 124 h 124"/>
                  <a:gd name="T2" fmla="*/ 0 w 150"/>
                  <a:gd name="T3" fmla="*/ 74 h 124"/>
                  <a:gd name="T4" fmla="*/ 19 w 150"/>
                  <a:gd name="T5" fmla="*/ 55 h 124"/>
                  <a:gd name="T6" fmla="*/ 48 w 150"/>
                  <a:gd name="T7" fmla="*/ 84 h 124"/>
                  <a:gd name="T8" fmla="*/ 131 w 150"/>
                  <a:gd name="T9" fmla="*/ 0 h 124"/>
                  <a:gd name="T10" fmla="*/ 150 w 150"/>
                  <a:gd name="T11" fmla="*/ 22 h 124"/>
                  <a:gd name="T12" fmla="*/ 48 w 150"/>
                  <a:gd name="T13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124">
                    <a:moveTo>
                      <a:pt x="48" y="124"/>
                    </a:moveTo>
                    <a:lnTo>
                      <a:pt x="0" y="74"/>
                    </a:lnTo>
                    <a:lnTo>
                      <a:pt x="19" y="55"/>
                    </a:lnTo>
                    <a:lnTo>
                      <a:pt x="48" y="84"/>
                    </a:lnTo>
                    <a:lnTo>
                      <a:pt x="131" y="0"/>
                    </a:lnTo>
                    <a:lnTo>
                      <a:pt x="150" y="22"/>
                    </a:lnTo>
                    <a:lnTo>
                      <a:pt x="48" y="124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4" name="Freeform 224">
                <a:extLst>
                  <a:ext uri="{FF2B5EF4-FFF2-40B4-BE49-F238E27FC236}">
                    <a16:creationId xmlns:a16="http://schemas.microsoft.com/office/drawing/2014/main" id="{52E328AA-6636-494E-9125-E0856BD66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2054" y="2774249"/>
                <a:ext cx="347882" cy="350495"/>
              </a:xfrm>
              <a:custGeom>
                <a:avLst/>
                <a:gdLst>
                  <a:gd name="T0" fmla="*/ 532 w 532"/>
                  <a:gd name="T1" fmla="*/ 536 h 536"/>
                  <a:gd name="T2" fmla="*/ 504 w 532"/>
                  <a:gd name="T3" fmla="*/ 536 h 536"/>
                  <a:gd name="T4" fmla="*/ 504 w 532"/>
                  <a:gd name="T5" fmla="*/ 29 h 536"/>
                  <a:gd name="T6" fmla="*/ 29 w 532"/>
                  <a:gd name="T7" fmla="*/ 29 h 536"/>
                  <a:gd name="T8" fmla="*/ 29 w 532"/>
                  <a:gd name="T9" fmla="*/ 507 h 536"/>
                  <a:gd name="T10" fmla="*/ 0 w 532"/>
                  <a:gd name="T11" fmla="*/ 507 h 536"/>
                  <a:gd name="T12" fmla="*/ 0 w 532"/>
                  <a:gd name="T13" fmla="*/ 0 h 536"/>
                  <a:gd name="T14" fmla="*/ 532 w 532"/>
                  <a:gd name="T15" fmla="*/ 0 h 536"/>
                  <a:gd name="T16" fmla="*/ 532 w 532"/>
                  <a:gd name="T17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2" h="536">
                    <a:moveTo>
                      <a:pt x="532" y="536"/>
                    </a:moveTo>
                    <a:lnTo>
                      <a:pt x="504" y="536"/>
                    </a:lnTo>
                    <a:lnTo>
                      <a:pt x="504" y="29"/>
                    </a:lnTo>
                    <a:lnTo>
                      <a:pt x="29" y="29"/>
                    </a:lnTo>
                    <a:lnTo>
                      <a:pt x="29" y="507"/>
                    </a:lnTo>
                    <a:lnTo>
                      <a:pt x="0" y="507"/>
                    </a:lnTo>
                    <a:lnTo>
                      <a:pt x="0" y="0"/>
                    </a:lnTo>
                    <a:lnTo>
                      <a:pt x="532" y="0"/>
                    </a:lnTo>
                    <a:lnTo>
                      <a:pt x="532" y="536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5" name="Rectangle 225">
                <a:extLst>
                  <a:ext uri="{FF2B5EF4-FFF2-40B4-BE49-F238E27FC236}">
                    <a16:creationId xmlns:a16="http://schemas.microsoft.com/office/drawing/2014/main" id="{4FE9D893-AC48-794C-814C-47E98AC59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00" y="2864488"/>
                <a:ext cx="198790" cy="18963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6" name="Rectangle 226">
                <a:extLst>
                  <a:ext uri="{FF2B5EF4-FFF2-40B4-BE49-F238E27FC236}">
                    <a16:creationId xmlns:a16="http://schemas.microsoft.com/office/drawing/2014/main" id="{B4344B93-9490-8647-98B0-99DF923DD1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6600" y="2926610"/>
                <a:ext cx="198790" cy="18963"/>
              </a:xfrm>
              <a:prstGeom prst="rect">
                <a:avLst/>
              </a:pr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7" name="Freeform 227">
                <a:extLst>
                  <a:ext uri="{FF2B5EF4-FFF2-40B4-BE49-F238E27FC236}">
                    <a16:creationId xmlns:a16="http://schemas.microsoft.com/office/drawing/2014/main" id="{6994314F-EB56-F04B-9C04-35CFCBF020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62899" y="3103165"/>
                <a:ext cx="52967" cy="52313"/>
              </a:xfrm>
              <a:custGeom>
                <a:avLst/>
                <a:gdLst>
                  <a:gd name="T0" fmla="*/ 81 w 81"/>
                  <a:gd name="T1" fmla="*/ 80 h 80"/>
                  <a:gd name="T2" fmla="*/ 0 w 81"/>
                  <a:gd name="T3" fmla="*/ 80 h 80"/>
                  <a:gd name="T4" fmla="*/ 0 w 81"/>
                  <a:gd name="T5" fmla="*/ 0 h 80"/>
                  <a:gd name="T6" fmla="*/ 81 w 81"/>
                  <a:gd name="T7" fmla="*/ 0 h 80"/>
                  <a:gd name="T8" fmla="*/ 81 w 81"/>
                  <a:gd name="T9" fmla="*/ 80 h 80"/>
                  <a:gd name="T10" fmla="*/ 19 w 81"/>
                  <a:gd name="T11" fmla="*/ 61 h 80"/>
                  <a:gd name="T12" fmla="*/ 62 w 81"/>
                  <a:gd name="T13" fmla="*/ 61 h 80"/>
                  <a:gd name="T14" fmla="*/ 62 w 81"/>
                  <a:gd name="T15" fmla="*/ 19 h 80"/>
                  <a:gd name="T16" fmla="*/ 19 w 81"/>
                  <a:gd name="T17" fmla="*/ 19 h 80"/>
                  <a:gd name="T18" fmla="*/ 19 w 81"/>
                  <a:gd name="T19" fmla="*/ 6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0">
                    <a:moveTo>
                      <a:pt x="81" y="80"/>
                    </a:moveTo>
                    <a:lnTo>
                      <a:pt x="0" y="80"/>
                    </a:lnTo>
                    <a:lnTo>
                      <a:pt x="0" y="0"/>
                    </a:lnTo>
                    <a:lnTo>
                      <a:pt x="81" y="0"/>
                    </a:lnTo>
                    <a:lnTo>
                      <a:pt x="81" y="80"/>
                    </a:lnTo>
                    <a:close/>
                    <a:moveTo>
                      <a:pt x="19" y="61"/>
                    </a:moveTo>
                    <a:lnTo>
                      <a:pt x="62" y="61"/>
                    </a:lnTo>
                    <a:lnTo>
                      <a:pt x="62" y="19"/>
                    </a:lnTo>
                    <a:lnTo>
                      <a:pt x="19" y="19"/>
                    </a:lnTo>
                    <a:lnTo>
                      <a:pt x="19" y="61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8" name="Freeform 228">
                <a:extLst>
                  <a:ext uri="{FF2B5EF4-FFF2-40B4-BE49-F238E27FC236}">
                    <a16:creationId xmlns:a16="http://schemas.microsoft.com/office/drawing/2014/main" id="{6C29FA0F-5F04-EE47-9F49-4550312F68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12596" y="3186865"/>
                <a:ext cx="52967" cy="52967"/>
              </a:xfrm>
              <a:custGeom>
                <a:avLst/>
                <a:gdLst>
                  <a:gd name="T0" fmla="*/ 81 w 81"/>
                  <a:gd name="T1" fmla="*/ 81 h 81"/>
                  <a:gd name="T2" fmla="*/ 0 w 81"/>
                  <a:gd name="T3" fmla="*/ 81 h 81"/>
                  <a:gd name="T4" fmla="*/ 0 w 81"/>
                  <a:gd name="T5" fmla="*/ 0 h 81"/>
                  <a:gd name="T6" fmla="*/ 81 w 81"/>
                  <a:gd name="T7" fmla="*/ 0 h 81"/>
                  <a:gd name="T8" fmla="*/ 81 w 81"/>
                  <a:gd name="T9" fmla="*/ 81 h 81"/>
                  <a:gd name="T10" fmla="*/ 19 w 81"/>
                  <a:gd name="T11" fmla="*/ 62 h 81"/>
                  <a:gd name="T12" fmla="*/ 62 w 81"/>
                  <a:gd name="T13" fmla="*/ 62 h 81"/>
                  <a:gd name="T14" fmla="*/ 62 w 81"/>
                  <a:gd name="T15" fmla="*/ 19 h 81"/>
                  <a:gd name="T16" fmla="*/ 19 w 81"/>
                  <a:gd name="T17" fmla="*/ 19 h 81"/>
                  <a:gd name="T18" fmla="*/ 19 w 81"/>
                  <a:gd name="T19" fmla="*/ 6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1">
                    <a:moveTo>
                      <a:pt x="81" y="81"/>
                    </a:moveTo>
                    <a:lnTo>
                      <a:pt x="0" y="81"/>
                    </a:lnTo>
                    <a:lnTo>
                      <a:pt x="0" y="0"/>
                    </a:lnTo>
                    <a:lnTo>
                      <a:pt x="81" y="0"/>
                    </a:lnTo>
                    <a:lnTo>
                      <a:pt x="81" y="81"/>
                    </a:lnTo>
                    <a:close/>
                    <a:moveTo>
                      <a:pt x="19" y="62"/>
                    </a:moveTo>
                    <a:lnTo>
                      <a:pt x="62" y="62"/>
                    </a:lnTo>
                    <a:lnTo>
                      <a:pt x="62" y="19"/>
                    </a:lnTo>
                    <a:lnTo>
                      <a:pt x="19" y="19"/>
                    </a:lnTo>
                    <a:lnTo>
                      <a:pt x="19" y="62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49" name="Freeform 229">
                <a:extLst>
                  <a:ext uri="{FF2B5EF4-FFF2-40B4-BE49-F238E27FC236}">
                    <a16:creationId xmlns:a16="http://schemas.microsoft.com/office/drawing/2014/main" id="{80FC31A1-3C86-A14C-8B50-B862804C59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661" y="3158747"/>
                <a:ext cx="51659" cy="52967"/>
              </a:xfrm>
              <a:custGeom>
                <a:avLst/>
                <a:gdLst>
                  <a:gd name="T0" fmla="*/ 79 w 79"/>
                  <a:gd name="T1" fmla="*/ 81 h 81"/>
                  <a:gd name="T2" fmla="*/ 0 w 79"/>
                  <a:gd name="T3" fmla="*/ 81 h 81"/>
                  <a:gd name="T4" fmla="*/ 0 w 79"/>
                  <a:gd name="T5" fmla="*/ 0 h 81"/>
                  <a:gd name="T6" fmla="*/ 79 w 79"/>
                  <a:gd name="T7" fmla="*/ 0 h 81"/>
                  <a:gd name="T8" fmla="*/ 79 w 79"/>
                  <a:gd name="T9" fmla="*/ 81 h 81"/>
                  <a:gd name="T10" fmla="*/ 19 w 79"/>
                  <a:gd name="T11" fmla="*/ 62 h 81"/>
                  <a:gd name="T12" fmla="*/ 60 w 79"/>
                  <a:gd name="T13" fmla="*/ 62 h 81"/>
                  <a:gd name="T14" fmla="*/ 60 w 79"/>
                  <a:gd name="T15" fmla="*/ 19 h 81"/>
                  <a:gd name="T16" fmla="*/ 19 w 79"/>
                  <a:gd name="T17" fmla="*/ 19 h 81"/>
                  <a:gd name="T18" fmla="*/ 19 w 79"/>
                  <a:gd name="T19" fmla="*/ 6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1">
                    <a:moveTo>
                      <a:pt x="79" y="81"/>
                    </a:moveTo>
                    <a:lnTo>
                      <a:pt x="0" y="81"/>
                    </a:lnTo>
                    <a:lnTo>
                      <a:pt x="0" y="0"/>
                    </a:lnTo>
                    <a:lnTo>
                      <a:pt x="79" y="0"/>
                    </a:lnTo>
                    <a:lnTo>
                      <a:pt x="79" y="81"/>
                    </a:lnTo>
                    <a:close/>
                    <a:moveTo>
                      <a:pt x="19" y="62"/>
                    </a:moveTo>
                    <a:lnTo>
                      <a:pt x="60" y="62"/>
                    </a:lnTo>
                    <a:lnTo>
                      <a:pt x="60" y="19"/>
                    </a:lnTo>
                    <a:lnTo>
                      <a:pt x="19" y="19"/>
                    </a:lnTo>
                    <a:lnTo>
                      <a:pt x="19" y="62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50" name="Freeform 230">
                <a:extLst>
                  <a:ext uri="{FF2B5EF4-FFF2-40B4-BE49-F238E27FC236}">
                    <a16:creationId xmlns:a16="http://schemas.microsoft.com/office/drawing/2014/main" id="{4B58D2F4-5DF9-DC48-9A96-520F2F39AE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7925" y="3235254"/>
                <a:ext cx="30734" cy="31388"/>
              </a:xfrm>
              <a:custGeom>
                <a:avLst/>
                <a:gdLst>
                  <a:gd name="T0" fmla="*/ 47 w 47"/>
                  <a:gd name="T1" fmla="*/ 48 h 48"/>
                  <a:gd name="T2" fmla="*/ 0 w 47"/>
                  <a:gd name="T3" fmla="*/ 48 h 48"/>
                  <a:gd name="T4" fmla="*/ 0 w 47"/>
                  <a:gd name="T5" fmla="*/ 0 h 48"/>
                  <a:gd name="T6" fmla="*/ 47 w 47"/>
                  <a:gd name="T7" fmla="*/ 0 h 48"/>
                  <a:gd name="T8" fmla="*/ 47 w 47"/>
                  <a:gd name="T9" fmla="*/ 48 h 48"/>
                  <a:gd name="T10" fmla="*/ 19 w 47"/>
                  <a:gd name="T11" fmla="*/ 29 h 48"/>
                  <a:gd name="T12" fmla="*/ 28 w 47"/>
                  <a:gd name="T13" fmla="*/ 29 h 48"/>
                  <a:gd name="T14" fmla="*/ 28 w 47"/>
                  <a:gd name="T15" fmla="*/ 19 h 48"/>
                  <a:gd name="T16" fmla="*/ 19 w 47"/>
                  <a:gd name="T17" fmla="*/ 19 h 48"/>
                  <a:gd name="T18" fmla="*/ 19 w 47"/>
                  <a:gd name="T19" fmla="*/ 2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8">
                    <a:moveTo>
                      <a:pt x="47" y="48"/>
                    </a:moveTo>
                    <a:lnTo>
                      <a:pt x="0" y="48"/>
                    </a:lnTo>
                    <a:lnTo>
                      <a:pt x="0" y="0"/>
                    </a:lnTo>
                    <a:lnTo>
                      <a:pt x="47" y="0"/>
                    </a:lnTo>
                    <a:lnTo>
                      <a:pt x="47" y="48"/>
                    </a:lnTo>
                    <a:close/>
                    <a:moveTo>
                      <a:pt x="19" y="29"/>
                    </a:moveTo>
                    <a:lnTo>
                      <a:pt x="28" y="29"/>
                    </a:lnTo>
                    <a:lnTo>
                      <a:pt x="28" y="19"/>
                    </a:lnTo>
                    <a:lnTo>
                      <a:pt x="19" y="19"/>
                    </a:lnTo>
                    <a:lnTo>
                      <a:pt x="19" y="29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51" name="Freeform 231">
                <a:extLst>
                  <a:ext uri="{FF2B5EF4-FFF2-40B4-BE49-F238E27FC236}">
                    <a16:creationId xmlns:a16="http://schemas.microsoft.com/office/drawing/2014/main" id="{8BEBC758-FB50-CB4B-9F9D-B843B79AF2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6106" y="3157439"/>
                <a:ext cx="72584" cy="71276"/>
              </a:xfrm>
              <a:custGeom>
                <a:avLst/>
                <a:gdLst>
                  <a:gd name="T0" fmla="*/ 111 w 111"/>
                  <a:gd name="T1" fmla="*/ 109 h 109"/>
                  <a:gd name="T2" fmla="*/ 0 w 111"/>
                  <a:gd name="T3" fmla="*/ 109 h 109"/>
                  <a:gd name="T4" fmla="*/ 0 w 111"/>
                  <a:gd name="T5" fmla="*/ 0 h 109"/>
                  <a:gd name="T6" fmla="*/ 111 w 111"/>
                  <a:gd name="T7" fmla="*/ 0 h 109"/>
                  <a:gd name="T8" fmla="*/ 111 w 111"/>
                  <a:gd name="T9" fmla="*/ 109 h 109"/>
                  <a:gd name="T10" fmla="*/ 19 w 111"/>
                  <a:gd name="T11" fmla="*/ 90 h 109"/>
                  <a:gd name="T12" fmla="*/ 92 w 111"/>
                  <a:gd name="T13" fmla="*/ 90 h 109"/>
                  <a:gd name="T14" fmla="*/ 92 w 111"/>
                  <a:gd name="T15" fmla="*/ 19 h 109"/>
                  <a:gd name="T16" fmla="*/ 19 w 111"/>
                  <a:gd name="T17" fmla="*/ 19 h 109"/>
                  <a:gd name="T18" fmla="*/ 19 w 111"/>
                  <a:gd name="T19" fmla="*/ 9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1" h="109">
                    <a:moveTo>
                      <a:pt x="111" y="109"/>
                    </a:moveTo>
                    <a:lnTo>
                      <a:pt x="0" y="109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11" y="109"/>
                    </a:lnTo>
                    <a:close/>
                    <a:moveTo>
                      <a:pt x="19" y="90"/>
                    </a:moveTo>
                    <a:lnTo>
                      <a:pt x="92" y="90"/>
                    </a:lnTo>
                    <a:lnTo>
                      <a:pt x="92" y="19"/>
                    </a:lnTo>
                    <a:lnTo>
                      <a:pt x="19" y="19"/>
                    </a:lnTo>
                    <a:lnTo>
                      <a:pt x="19" y="90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152" name="Freeform 232">
                <a:extLst>
                  <a:ext uri="{FF2B5EF4-FFF2-40B4-BE49-F238E27FC236}">
                    <a16:creationId xmlns:a16="http://schemas.microsoft.com/office/drawing/2014/main" id="{1DD2EC37-1598-D54E-94D2-77B85605D9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95692" y="3099895"/>
                <a:ext cx="43812" cy="41850"/>
              </a:xfrm>
              <a:custGeom>
                <a:avLst/>
                <a:gdLst>
                  <a:gd name="T0" fmla="*/ 67 w 67"/>
                  <a:gd name="T1" fmla="*/ 64 h 64"/>
                  <a:gd name="T2" fmla="*/ 0 w 67"/>
                  <a:gd name="T3" fmla="*/ 64 h 64"/>
                  <a:gd name="T4" fmla="*/ 0 w 67"/>
                  <a:gd name="T5" fmla="*/ 0 h 64"/>
                  <a:gd name="T6" fmla="*/ 67 w 67"/>
                  <a:gd name="T7" fmla="*/ 0 h 64"/>
                  <a:gd name="T8" fmla="*/ 67 w 67"/>
                  <a:gd name="T9" fmla="*/ 64 h 64"/>
                  <a:gd name="T10" fmla="*/ 19 w 67"/>
                  <a:gd name="T11" fmla="*/ 45 h 64"/>
                  <a:gd name="T12" fmla="*/ 48 w 67"/>
                  <a:gd name="T13" fmla="*/ 45 h 64"/>
                  <a:gd name="T14" fmla="*/ 48 w 67"/>
                  <a:gd name="T15" fmla="*/ 19 h 64"/>
                  <a:gd name="T16" fmla="*/ 19 w 67"/>
                  <a:gd name="T17" fmla="*/ 19 h 64"/>
                  <a:gd name="T18" fmla="*/ 19 w 67"/>
                  <a:gd name="T19" fmla="*/ 4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4">
                    <a:moveTo>
                      <a:pt x="67" y="64"/>
                    </a:moveTo>
                    <a:lnTo>
                      <a:pt x="0" y="64"/>
                    </a:lnTo>
                    <a:lnTo>
                      <a:pt x="0" y="0"/>
                    </a:lnTo>
                    <a:lnTo>
                      <a:pt x="67" y="0"/>
                    </a:lnTo>
                    <a:lnTo>
                      <a:pt x="67" y="64"/>
                    </a:lnTo>
                    <a:close/>
                    <a:moveTo>
                      <a:pt x="19" y="45"/>
                    </a:moveTo>
                    <a:lnTo>
                      <a:pt x="48" y="45"/>
                    </a:lnTo>
                    <a:lnTo>
                      <a:pt x="48" y="19"/>
                    </a:lnTo>
                    <a:lnTo>
                      <a:pt x="19" y="19"/>
                    </a:lnTo>
                    <a:lnTo>
                      <a:pt x="19" y="45"/>
                    </a:lnTo>
                    <a:close/>
                  </a:path>
                </a:pathLst>
              </a:custGeom>
              <a:grpFill/>
              <a:ln>
                <a:solidFill>
                  <a:schemeClr val="tx2"/>
                </a:solidFill>
              </a:ln>
            </p:spPr>
            <p:txBody>
              <a:bodyPr vert="horz" wrap="square" lIns="91440" tIns="45721" rIns="91440" bIns="45721" numCol="1" anchor="t" anchorCtr="0" compatLnSpc="1">
                <a:prstTxWarp prst="textNoShape">
                  <a:avLst/>
                </a:prstTxWarp>
                <a:scene3d>
                  <a:camera prst="orthographicFront"/>
                  <a:lightRig rig="threePt" dir="t"/>
                </a:scene3d>
                <a:sp3d extrusionH="57150">
                  <a:bevelT w="69850" h="69850" prst="divot"/>
                </a:sp3d>
              </a:bodyPr>
              <a:lstStyle/>
              <a:p>
                <a:endParaRPr lang="en-US" sz="1349">
                  <a:ln w="0">
                    <a:noFill/>
                  </a:ln>
                  <a:solidFill>
                    <a:srgbClr val="FFFFFF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Arial"/>
                </a:endParaRP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5F6887-0B74-4918-8D4A-8A0B68B57DC4}"/>
              </a:ext>
            </a:extLst>
          </p:cNvPr>
          <p:cNvGrpSpPr/>
          <p:nvPr/>
        </p:nvGrpSpPr>
        <p:grpSpPr>
          <a:xfrm>
            <a:off x="3402592" y="3383217"/>
            <a:ext cx="1181849" cy="782418"/>
            <a:chOff x="7295745" y="2600868"/>
            <a:chExt cx="1181849" cy="782417"/>
          </a:xfrm>
        </p:grpSpPr>
        <p:sp>
          <p:nvSpPr>
            <p:cNvPr id="81" name="Freeform 127">
              <a:extLst>
                <a:ext uri="{FF2B5EF4-FFF2-40B4-BE49-F238E27FC236}">
                  <a16:creationId xmlns:a16="http://schemas.microsoft.com/office/drawing/2014/main" id="{26E245B5-9AB3-E64E-A619-49F8C19D0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2891" y="2600868"/>
              <a:ext cx="406253" cy="392523"/>
            </a:xfrm>
            <a:custGeom>
              <a:avLst/>
              <a:gdLst>
                <a:gd name="T0" fmla="*/ 255 w 315"/>
                <a:gd name="T1" fmla="*/ 315 h 315"/>
                <a:gd name="T2" fmla="*/ 227 w 315"/>
                <a:gd name="T3" fmla="*/ 315 h 315"/>
                <a:gd name="T4" fmla="*/ 209 w 315"/>
                <a:gd name="T5" fmla="*/ 309 h 315"/>
                <a:gd name="T6" fmla="*/ 201 w 315"/>
                <a:gd name="T7" fmla="*/ 309 h 315"/>
                <a:gd name="T8" fmla="*/ 183 w 315"/>
                <a:gd name="T9" fmla="*/ 315 h 315"/>
                <a:gd name="T10" fmla="*/ 147 w 315"/>
                <a:gd name="T11" fmla="*/ 315 h 315"/>
                <a:gd name="T12" fmla="*/ 119 w 315"/>
                <a:gd name="T13" fmla="*/ 315 h 315"/>
                <a:gd name="T14" fmla="*/ 101 w 315"/>
                <a:gd name="T15" fmla="*/ 309 h 315"/>
                <a:gd name="T16" fmla="*/ 93 w 315"/>
                <a:gd name="T17" fmla="*/ 309 h 315"/>
                <a:gd name="T18" fmla="*/ 75 w 315"/>
                <a:gd name="T19" fmla="*/ 315 h 315"/>
                <a:gd name="T20" fmla="*/ 39 w 315"/>
                <a:gd name="T21" fmla="*/ 315 h 315"/>
                <a:gd name="T22" fmla="*/ 281 w 315"/>
                <a:gd name="T23" fmla="*/ 308 h 315"/>
                <a:gd name="T24" fmla="*/ 16 w 315"/>
                <a:gd name="T25" fmla="*/ 299 h 315"/>
                <a:gd name="T26" fmla="*/ 307 w 315"/>
                <a:gd name="T27" fmla="*/ 298 h 315"/>
                <a:gd name="T28" fmla="*/ 7 w 315"/>
                <a:gd name="T29" fmla="*/ 297 h 315"/>
                <a:gd name="T30" fmla="*/ 0 w 315"/>
                <a:gd name="T31" fmla="*/ 279 h 315"/>
                <a:gd name="T32" fmla="*/ 0 w 315"/>
                <a:gd name="T33" fmla="*/ 279 h 315"/>
                <a:gd name="T34" fmla="*/ 6 w 315"/>
                <a:gd name="T35" fmla="*/ 260 h 315"/>
                <a:gd name="T36" fmla="*/ 309 w 315"/>
                <a:gd name="T37" fmla="*/ 254 h 315"/>
                <a:gd name="T38" fmla="*/ 0 w 315"/>
                <a:gd name="T39" fmla="*/ 232 h 315"/>
                <a:gd name="T40" fmla="*/ 315 w 315"/>
                <a:gd name="T41" fmla="*/ 226 h 315"/>
                <a:gd name="T42" fmla="*/ 6 w 315"/>
                <a:gd name="T43" fmla="*/ 224 h 315"/>
                <a:gd name="T44" fmla="*/ 6 w 315"/>
                <a:gd name="T45" fmla="*/ 206 h 315"/>
                <a:gd name="T46" fmla="*/ 309 w 315"/>
                <a:gd name="T47" fmla="*/ 200 h 315"/>
                <a:gd name="T48" fmla="*/ 0 w 315"/>
                <a:gd name="T49" fmla="*/ 178 h 315"/>
                <a:gd name="T50" fmla="*/ 315 w 315"/>
                <a:gd name="T51" fmla="*/ 172 h 315"/>
                <a:gd name="T52" fmla="*/ 6 w 315"/>
                <a:gd name="T53" fmla="*/ 170 h 315"/>
                <a:gd name="T54" fmla="*/ 6 w 315"/>
                <a:gd name="T55" fmla="*/ 152 h 315"/>
                <a:gd name="T56" fmla="*/ 309 w 315"/>
                <a:gd name="T57" fmla="*/ 146 h 315"/>
                <a:gd name="T58" fmla="*/ 0 w 315"/>
                <a:gd name="T59" fmla="*/ 124 h 315"/>
                <a:gd name="T60" fmla="*/ 315 w 315"/>
                <a:gd name="T61" fmla="*/ 118 h 315"/>
                <a:gd name="T62" fmla="*/ 6 w 315"/>
                <a:gd name="T63" fmla="*/ 116 h 315"/>
                <a:gd name="T64" fmla="*/ 6 w 315"/>
                <a:gd name="T65" fmla="*/ 98 h 315"/>
                <a:gd name="T66" fmla="*/ 309 w 315"/>
                <a:gd name="T67" fmla="*/ 92 h 315"/>
                <a:gd name="T68" fmla="*/ 0 w 315"/>
                <a:gd name="T69" fmla="*/ 70 h 315"/>
                <a:gd name="T70" fmla="*/ 315 w 315"/>
                <a:gd name="T71" fmla="*/ 64 h 315"/>
                <a:gd name="T72" fmla="*/ 6 w 315"/>
                <a:gd name="T73" fmla="*/ 62 h 315"/>
                <a:gd name="T74" fmla="*/ 6 w 315"/>
                <a:gd name="T75" fmla="*/ 44 h 315"/>
                <a:gd name="T76" fmla="*/ 6 w 315"/>
                <a:gd name="T77" fmla="*/ 44 h 315"/>
                <a:gd name="T78" fmla="*/ 9 w 315"/>
                <a:gd name="T79" fmla="*/ 28 h 315"/>
                <a:gd name="T80" fmla="*/ 298 w 315"/>
                <a:gd name="T81" fmla="*/ 16 h 315"/>
                <a:gd name="T82" fmla="*/ 24 w 315"/>
                <a:gd name="T83" fmla="*/ 4 h 315"/>
                <a:gd name="T84" fmla="*/ 295 w 315"/>
                <a:gd name="T85" fmla="*/ 6 h 315"/>
                <a:gd name="T86" fmla="*/ 42 w 315"/>
                <a:gd name="T87" fmla="*/ 6 h 315"/>
                <a:gd name="T88" fmla="*/ 266 w 315"/>
                <a:gd name="T89" fmla="*/ 0 h 315"/>
                <a:gd name="T90" fmla="*/ 248 w 315"/>
                <a:gd name="T91" fmla="*/ 0 h 315"/>
                <a:gd name="T92" fmla="*/ 240 w 315"/>
                <a:gd name="T93" fmla="*/ 0 h 315"/>
                <a:gd name="T94" fmla="*/ 222 w 315"/>
                <a:gd name="T95" fmla="*/ 6 h 315"/>
                <a:gd name="T96" fmla="*/ 186 w 315"/>
                <a:gd name="T97" fmla="*/ 6 h 315"/>
                <a:gd name="T98" fmla="*/ 158 w 315"/>
                <a:gd name="T99" fmla="*/ 6 h 315"/>
                <a:gd name="T100" fmla="*/ 140 w 315"/>
                <a:gd name="T101" fmla="*/ 0 h 315"/>
                <a:gd name="T102" fmla="*/ 132 w 315"/>
                <a:gd name="T103" fmla="*/ 0 h 315"/>
                <a:gd name="T104" fmla="*/ 114 w 315"/>
                <a:gd name="T105" fmla="*/ 6 h 315"/>
                <a:gd name="T106" fmla="*/ 78 w 315"/>
                <a:gd name="T107" fmla="*/ 6 h 315"/>
                <a:gd name="T108" fmla="*/ 50 w 315"/>
                <a:gd name="T109" fmla="*/ 6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5" h="315">
                  <a:moveTo>
                    <a:pt x="274" y="315"/>
                  </a:moveTo>
                  <a:cubicBezTo>
                    <a:pt x="263" y="315"/>
                    <a:pt x="263" y="315"/>
                    <a:pt x="263" y="315"/>
                  </a:cubicBezTo>
                  <a:cubicBezTo>
                    <a:pt x="263" y="309"/>
                    <a:pt x="263" y="309"/>
                    <a:pt x="263" y="309"/>
                  </a:cubicBezTo>
                  <a:cubicBezTo>
                    <a:pt x="273" y="309"/>
                    <a:pt x="273" y="309"/>
                    <a:pt x="273" y="309"/>
                  </a:cubicBezTo>
                  <a:lnTo>
                    <a:pt x="274" y="315"/>
                  </a:lnTo>
                  <a:close/>
                  <a:moveTo>
                    <a:pt x="255" y="315"/>
                  </a:moveTo>
                  <a:cubicBezTo>
                    <a:pt x="245" y="315"/>
                    <a:pt x="245" y="315"/>
                    <a:pt x="245" y="315"/>
                  </a:cubicBezTo>
                  <a:cubicBezTo>
                    <a:pt x="245" y="309"/>
                    <a:pt x="245" y="309"/>
                    <a:pt x="245" y="309"/>
                  </a:cubicBezTo>
                  <a:cubicBezTo>
                    <a:pt x="255" y="309"/>
                    <a:pt x="255" y="309"/>
                    <a:pt x="255" y="309"/>
                  </a:cubicBezTo>
                  <a:lnTo>
                    <a:pt x="255" y="315"/>
                  </a:lnTo>
                  <a:close/>
                  <a:moveTo>
                    <a:pt x="237" y="315"/>
                  </a:moveTo>
                  <a:cubicBezTo>
                    <a:pt x="227" y="315"/>
                    <a:pt x="227" y="315"/>
                    <a:pt x="227" y="315"/>
                  </a:cubicBezTo>
                  <a:cubicBezTo>
                    <a:pt x="227" y="309"/>
                    <a:pt x="227" y="309"/>
                    <a:pt x="227" y="309"/>
                  </a:cubicBezTo>
                  <a:cubicBezTo>
                    <a:pt x="237" y="309"/>
                    <a:pt x="237" y="309"/>
                    <a:pt x="237" y="309"/>
                  </a:cubicBezTo>
                  <a:lnTo>
                    <a:pt x="237" y="315"/>
                  </a:lnTo>
                  <a:close/>
                  <a:moveTo>
                    <a:pt x="219" y="315"/>
                  </a:moveTo>
                  <a:cubicBezTo>
                    <a:pt x="209" y="315"/>
                    <a:pt x="209" y="315"/>
                    <a:pt x="209" y="315"/>
                  </a:cubicBezTo>
                  <a:cubicBezTo>
                    <a:pt x="209" y="309"/>
                    <a:pt x="209" y="309"/>
                    <a:pt x="209" y="309"/>
                  </a:cubicBezTo>
                  <a:cubicBezTo>
                    <a:pt x="219" y="309"/>
                    <a:pt x="219" y="309"/>
                    <a:pt x="219" y="309"/>
                  </a:cubicBezTo>
                  <a:lnTo>
                    <a:pt x="219" y="315"/>
                  </a:lnTo>
                  <a:close/>
                  <a:moveTo>
                    <a:pt x="201" y="315"/>
                  </a:moveTo>
                  <a:cubicBezTo>
                    <a:pt x="191" y="315"/>
                    <a:pt x="191" y="315"/>
                    <a:pt x="191" y="315"/>
                  </a:cubicBezTo>
                  <a:cubicBezTo>
                    <a:pt x="191" y="309"/>
                    <a:pt x="191" y="309"/>
                    <a:pt x="191" y="309"/>
                  </a:cubicBezTo>
                  <a:cubicBezTo>
                    <a:pt x="201" y="309"/>
                    <a:pt x="201" y="309"/>
                    <a:pt x="201" y="309"/>
                  </a:cubicBezTo>
                  <a:lnTo>
                    <a:pt x="201" y="315"/>
                  </a:lnTo>
                  <a:close/>
                  <a:moveTo>
                    <a:pt x="183" y="315"/>
                  </a:moveTo>
                  <a:cubicBezTo>
                    <a:pt x="173" y="315"/>
                    <a:pt x="173" y="315"/>
                    <a:pt x="173" y="315"/>
                  </a:cubicBezTo>
                  <a:cubicBezTo>
                    <a:pt x="173" y="309"/>
                    <a:pt x="173" y="309"/>
                    <a:pt x="173" y="309"/>
                  </a:cubicBezTo>
                  <a:cubicBezTo>
                    <a:pt x="183" y="309"/>
                    <a:pt x="183" y="309"/>
                    <a:pt x="183" y="309"/>
                  </a:cubicBezTo>
                  <a:lnTo>
                    <a:pt x="183" y="315"/>
                  </a:lnTo>
                  <a:close/>
                  <a:moveTo>
                    <a:pt x="165" y="315"/>
                  </a:moveTo>
                  <a:cubicBezTo>
                    <a:pt x="155" y="315"/>
                    <a:pt x="155" y="315"/>
                    <a:pt x="155" y="315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65" y="309"/>
                    <a:pt x="165" y="309"/>
                    <a:pt x="165" y="309"/>
                  </a:cubicBezTo>
                  <a:lnTo>
                    <a:pt x="165" y="315"/>
                  </a:lnTo>
                  <a:close/>
                  <a:moveTo>
                    <a:pt x="147" y="315"/>
                  </a:moveTo>
                  <a:cubicBezTo>
                    <a:pt x="137" y="315"/>
                    <a:pt x="137" y="315"/>
                    <a:pt x="137" y="315"/>
                  </a:cubicBezTo>
                  <a:cubicBezTo>
                    <a:pt x="137" y="309"/>
                    <a:pt x="137" y="309"/>
                    <a:pt x="137" y="309"/>
                  </a:cubicBezTo>
                  <a:cubicBezTo>
                    <a:pt x="147" y="309"/>
                    <a:pt x="147" y="309"/>
                    <a:pt x="147" y="309"/>
                  </a:cubicBezTo>
                  <a:lnTo>
                    <a:pt x="147" y="315"/>
                  </a:lnTo>
                  <a:close/>
                  <a:moveTo>
                    <a:pt x="129" y="315"/>
                  </a:moveTo>
                  <a:cubicBezTo>
                    <a:pt x="119" y="315"/>
                    <a:pt x="119" y="315"/>
                    <a:pt x="119" y="315"/>
                  </a:cubicBezTo>
                  <a:cubicBezTo>
                    <a:pt x="119" y="309"/>
                    <a:pt x="119" y="309"/>
                    <a:pt x="119" y="309"/>
                  </a:cubicBezTo>
                  <a:cubicBezTo>
                    <a:pt x="129" y="309"/>
                    <a:pt x="129" y="309"/>
                    <a:pt x="129" y="309"/>
                  </a:cubicBezTo>
                  <a:lnTo>
                    <a:pt x="129" y="315"/>
                  </a:lnTo>
                  <a:close/>
                  <a:moveTo>
                    <a:pt x="111" y="315"/>
                  </a:moveTo>
                  <a:cubicBezTo>
                    <a:pt x="101" y="315"/>
                    <a:pt x="101" y="315"/>
                    <a:pt x="101" y="315"/>
                  </a:cubicBezTo>
                  <a:cubicBezTo>
                    <a:pt x="101" y="309"/>
                    <a:pt x="101" y="309"/>
                    <a:pt x="101" y="309"/>
                  </a:cubicBezTo>
                  <a:cubicBezTo>
                    <a:pt x="111" y="309"/>
                    <a:pt x="111" y="309"/>
                    <a:pt x="111" y="309"/>
                  </a:cubicBezTo>
                  <a:lnTo>
                    <a:pt x="111" y="315"/>
                  </a:lnTo>
                  <a:close/>
                  <a:moveTo>
                    <a:pt x="93" y="315"/>
                  </a:moveTo>
                  <a:cubicBezTo>
                    <a:pt x="83" y="315"/>
                    <a:pt x="83" y="315"/>
                    <a:pt x="83" y="315"/>
                  </a:cubicBezTo>
                  <a:cubicBezTo>
                    <a:pt x="83" y="309"/>
                    <a:pt x="83" y="309"/>
                    <a:pt x="83" y="309"/>
                  </a:cubicBezTo>
                  <a:cubicBezTo>
                    <a:pt x="93" y="309"/>
                    <a:pt x="93" y="309"/>
                    <a:pt x="93" y="309"/>
                  </a:cubicBezTo>
                  <a:lnTo>
                    <a:pt x="93" y="315"/>
                  </a:lnTo>
                  <a:close/>
                  <a:moveTo>
                    <a:pt x="75" y="315"/>
                  </a:moveTo>
                  <a:cubicBezTo>
                    <a:pt x="65" y="315"/>
                    <a:pt x="65" y="315"/>
                    <a:pt x="65" y="315"/>
                  </a:cubicBezTo>
                  <a:cubicBezTo>
                    <a:pt x="65" y="309"/>
                    <a:pt x="65" y="309"/>
                    <a:pt x="65" y="309"/>
                  </a:cubicBezTo>
                  <a:cubicBezTo>
                    <a:pt x="75" y="309"/>
                    <a:pt x="75" y="309"/>
                    <a:pt x="75" y="309"/>
                  </a:cubicBezTo>
                  <a:lnTo>
                    <a:pt x="75" y="315"/>
                  </a:lnTo>
                  <a:close/>
                  <a:moveTo>
                    <a:pt x="57" y="315"/>
                  </a:moveTo>
                  <a:cubicBezTo>
                    <a:pt x="47" y="315"/>
                    <a:pt x="47" y="315"/>
                    <a:pt x="47" y="315"/>
                  </a:cubicBezTo>
                  <a:cubicBezTo>
                    <a:pt x="47" y="309"/>
                    <a:pt x="47" y="309"/>
                    <a:pt x="47" y="309"/>
                  </a:cubicBezTo>
                  <a:cubicBezTo>
                    <a:pt x="57" y="309"/>
                    <a:pt x="57" y="309"/>
                    <a:pt x="57" y="309"/>
                  </a:cubicBezTo>
                  <a:lnTo>
                    <a:pt x="57" y="315"/>
                  </a:lnTo>
                  <a:close/>
                  <a:moveTo>
                    <a:pt x="39" y="315"/>
                  </a:moveTo>
                  <a:cubicBezTo>
                    <a:pt x="36" y="315"/>
                    <a:pt x="32" y="314"/>
                    <a:pt x="29" y="313"/>
                  </a:cubicBezTo>
                  <a:cubicBezTo>
                    <a:pt x="30" y="308"/>
                    <a:pt x="30" y="308"/>
                    <a:pt x="30" y="308"/>
                  </a:cubicBezTo>
                  <a:cubicBezTo>
                    <a:pt x="33" y="308"/>
                    <a:pt x="36" y="309"/>
                    <a:pt x="40" y="309"/>
                  </a:cubicBezTo>
                  <a:lnTo>
                    <a:pt x="39" y="315"/>
                  </a:lnTo>
                  <a:close/>
                  <a:moveTo>
                    <a:pt x="282" y="314"/>
                  </a:moveTo>
                  <a:cubicBezTo>
                    <a:pt x="281" y="308"/>
                    <a:pt x="281" y="308"/>
                    <a:pt x="281" y="308"/>
                  </a:cubicBezTo>
                  <a:cubicBezTo>
                    <a:pt x="284" y="308"/>
                    <a:pt x="287" y="307"/>
                    <a:pt x="290" y="305"/>
                  </a:cubicBezTo>
                  <a:cubicBezTo>
                    <a:pt x="292" y="311"/>
                    <a:pt x="292" y="311"/>
                    <a:pt x="292" y="311"/>
                  </a:cubicBezTo>
                  <a:cubicBezTo>
                    <a:pt x="289" y="312"/>
                    <a:pt x="286" y="314"/>
                    <a:pt x="282" y="314"/>
                  </a:cubicBezTo>
                  <a:close/>
                  <a:moveTo>
                    <a:pt x="21" y="310"/>
                  </a:moveTo>
                  <a:cubicBezTo>
                    <a:pt x="18" y="308"/>
                    <a:pt x="15" y="306"/>
                    <a:pt x="12" y="303"/>
                  </a:cubicBezTo>
                  <a:cubicBezTo>
                    <a:pt x="16" y="299"/>
                    <a:pt x="16" y="299"/>
                    <a:pt x="16" y="299"/>
                  </a:cubicBezTo>
                  <a:cubicBezTo>
                    <a:pt x="19" y="301"/>
                    <a:pt x="21" y="303"/>
                    <a:pt x="24" y="305"/>
                  </a:cubicBezTo>
                  <a:lnTo>
                    <a:pt x="21" y="310"/>
                  </a:lnTo>
                  <a:close/>
                  <a:moveTo>
                    <a:pt x="299" y="306"/>
                  </a:moveTo>
                  <a:cubicBezTo>
                    <a:pt x="296" y="301"/>
                    <a:pt x="296" y="301"/>
                    <a:pt x="296" y="301"/>
                  </a:cubicBezTo>
                  <a:cubicBezTo>
                    <a:pt x="298" y="299"/>
                    <a:pt x="300" y="297"/>
                    <a:pt x="302" y="295"/>
                  </a:cubicBezTo>
                  <a:cubicBezTo>
                    <a:pt x="307" y="298"/>
                    <a:pt x="307" y="298"/>
                    <a:pt x="307" y="298"/>
                  </a:cubicBezTo>
                  <a:cubicBezTo>
                    <a:pt x="305" y="301"/>
                    <a:pt x="302" y="304"/>
                    <a:pt x="299" y="306"/>
                  </a:cubicBezTo>
                  <a:close/>
                  <a:moveTo>
                    <a:pt x="7" y="297"/>
                  </a:moveTo>
                  <a:cubicBezTo>
                    <a:pt x="5" y="294"/>
                    <a:pt x="3" y="290"/>
                    <a:pt x="2" y="287"/>
                  </a:cubicBezTo>
                  <a:cubicBezTo>
                    <a:pt x="8" y="285"/>
                    <a:pt x="8" y="285"/>
                    <a:pt x="8" y="285"/>
                  </a:cubicBezTo>
                  <a:cubicBezTo>
                    <a:pt x="9" y="288"/>
                    <a:pt x="10" y="291"/>
                    <a:pt x="12" y="293"/>
                  </a:cubicBezTo>
                  <a:lnTo>
                    <a:pt x="7" y="297"/>
                  </a:lnTo>
                  <a:close/>
                  <a:moveTo>
                    <a:pt x="311" y="291"/>
                  </a:moveTo>
                  <a:cubicBezTo>
                    <a:pt x="306" y="288"/>
                    <a:pt x="306" y="288"/>
                    <a:pt x="306" y="288"/>
                  </a:cubicBezTo>
                  <a:cubicBezTo>
                    <a:pt x="307" y="286"/>
                    <a:pt x="308" y="283"/>
                    <a:pt x="308" y="280"/>
                  </a:cubicBezTo>
                  <a:cubicBezTo>
                    <a:pt x="314" y="280"/>
                    <a:pt x="314" y="280"/>
                    <a:pt x="314" y="280"/>
                  </a:cubicBezTo>
                  <a:cubicBezTo>
                    <a:pt x="314" y="284"/>
                    <a:pt x="313" y="288"/>
                    <a:pt x="311" y="291"/>
                  </a:cubicBezTo>
                  <a:close/>
                  <a:moveTo>
                    <a:pt x="0" y="279"/>
                  </a:moveTo>
                  <a:cubicBezTo>
                    <a:pt x="0" y="277"/>
                    <a:pt x="0" y="275"/>
                    <a:pt x="0" y="274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6" y="268"/>
                    <a:pt x="6" y="268"/>
                    <a:pt x="6" y="268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6" y="275"/>
                    <a:pt x="6" y="276"/>
                    <a:pt x="6" y="278"/>
                  </a:cubicBezTo>
                  <a:lnTo>
                    <a:pt x="0" y="279"/>
                  </a:lnTo>
                  <a:close/>
                  <a:moveTo>
                    <a:pt x="315" y="272"/>
                  </a:moveTo>
                  <a:cubicBezTo>
                    <a:pt x="309" y="272"/>
                    <a:pt x="309" y="272"/>
                    <a:pt x="309" y="272"/>
                  </a:cubicBezTo>
                  <a:cubicBezTo>
                    <a:pt x="309" y="262"/>
                    <a:pt x="309" y="262"/>
                    <a:pt x="309" y="262"/>
                  </a:cubicBezTo>
                  <a:cubicBezTo>
                    <a:pt x="315" y="262"/>
                    <a:pt x="315" y="262"/>
                    <a:pt x="315" y="262"/>
                  </a:cubicBezTo>
                  <a:lnTo>
                    <a:pt x="315" y="272"/>
                  </a:lnTo>
                  <a:close/>
                  <a:moveTo>
                    <a:pt x="6" y="260"/>
                  </a:moveTo>
                  <a:cubicBezTo>
                    <a:pt x="0" y="260"/>
                    <a:pt x="0" y="260"/>
                    <a:pt x="0" y="26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6" y="250"/>
                    <a:pt x="6" y="250"/>
                    <a:pt x="6" y="250"/>
                  </a:cubicBezTo>
                  <a:lnTo>
                    <a:pt x="6" y="260"/>
                  </a:lnTo>
                  <a:close/>
                  <a:moveTo>
                    <a:pt x="315" y="254"/>
                  </a:moveTo>
                  <a:cubicBezTo>
                    <a:pt x="309" y="254"/>
                    <a:pt x="309" y="254"/>
                    <a:pt x="309" y="254"/>
                  </a:cubicBezTo>
                  <a:cubicBezTo>
                    <a:pt x="309" y="244"/>
                    <a:pt x="309" y="244"/>
                    <a:pt x="309" y="244"/>
                  </a:cubicBezTo>
                  <a:cubicBezTo>
                    <a:pt x="315" y="244"/>
                    <a:pt x="315" y="244"/>
                    <a:pt x="315" y="244"/>
                  </a:cubicBezTo>
                  <a:lnTo>
                    <a:pt x="315" y="254"/>
                  </a:lnTo>
                  <a:close/>
                  <a:moveTo>
                    <a:pt x="6" y="242"/>
                  </a:moveTo>
                  <a:cubicBezTo>
                    <a:pt x="0" y="242"/>
                    <a:pt x="0" y="242"/>
                    <a:pt x="0" y="242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6" y="232"/>
                    <a:pt x="6" y="232"/>
                    <a:pt x="6" y="232"/>
                  </a:cubicBezTo>
                  <a:lnTo>
                    <a:pt x="6" y="242"/>
                  </a:lnTo>
                  <a:close/>
                  <a:moveTo>
                    <a:pt x="315" y="236"/>
                  </a:moveTo>
                  <a:cubicBezTo>
                    <a:pt x="309" y="236"/>
                    <a:pt x="309" y="236"/>
                    <a:pt x="309" y="236"/>
                  </a:cubicBezTo>
                  <a:cubicBezTo>
                    <a:pt x="309" y="226"/>
                    <a:pt x="309" y="226"/>
                    <a:pt x="309" y="226"/>
                  </a:cubicBezTo>
                  <a:cubicBezTo>
                    <a:pt x="315" y="226"/>
                    <a:pt x="315" y="226"/>
                    <a:pt x="315" y="226"/>
                  </a:cubicBezTo>
                  <a:lnTo>
                    <a:pt x="315" y="236"/>
                  </a:lnTo>
                  <a:close/>
                  <a:moveTo>
                    <a:pt x="6" y="224"/>
                  </a:moveTo>
                  <a:cubicBezTo>
                    <a:pt x="0" y="224"/>
                    <a:pt x="0" y="224"/>
                    <a:pt x="0" y="22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6" y="214"/>
                    <a:pt x="6" y="214"/>
                    <a:pt x="6" y="214"/>
                  </a:cubicBezTo>
                  <a:lnTo>
                    <a:pt x="6" y="224"/>
                  </a:lnTo>
                  <a:close/>
                  <a:moveTo>
                    <a:pt x="315" y="218"/>
                  </a:moveTo>
                  <a:cubicBezTo>
                    <a:pt x="309" y="218"/>
                    <a:pt x="309" y="218"/>
                    <a:pt x="309" y="218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15" y="208"/>
                    <a:pt x="315" y="208"/>
                    <a:pt x="315" y="208"/>
                  </a:cubicBezTo>
                  <a:lnTo>
                    <a:pt x="315" y="218"/>
                  </a:lnTo>
                  <a:close/>
                  <a:moveTo>
                    <a:pt x="6" y="206"/>
                  </a:moveTo>
                  <a:cubicBezTo>
                    <a:pt x="0" y="206"/>
                    <a:pt x="0" y="206"/>
                    <a:pt x="0" y="20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6" y="196"/>
                    <a:pt x="6" y="196"/>
                    <a:pt x="6" y="196"/>
                  </a:cubicBezTo>
                  <a:lnTo>
                    <a:pt x="6" y="206"/>
                  </a:lnTo>
                  <a:close/>
                  <a:moveTo>
                    <a:pt x="315" y="200"/>
                  </a:moveTo>
                  <a:cubicBezTo>
                    <a:pt x="309" y="200"/>
                    <a:pt x="309" y="200"/>
                    <a:pt x="309" y="200"/>
                  </a:cubicBezTo>
                  <a:cubicBezTo>
                    <a:pt x="309" y="190"/>
                    <a:pt x="309" y="190"/>
                    <a:pt x="309" y="190"/>
                  </a:cubicBezTo>
                  <a:cubicBezTo>
                    <a:pt x="315" y="190"/>
                    <a:pt x="315" y="190"/>
                    <a:pt x="315" y="190"/>
                  </a:cubicBezTo>
                  <a:lnTo>
                    <a:pt x="315" y="200"/>
                  </a:lnTo>
                  <a:close/>
                  <a:moveTo>
                    <a:pt x="6" y="188"/>
                  </a:moveTo>
                  <a:cubicBezTo>
                    <a:pt x="0" y="188"/>
                    <a:pt x="0" y="188"/>
                    <a:pt x="0" y="188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6" y="178"/>
                    <a:pt x="6" y="178"/>
                    <a:pt x="6" y="178"/>
                  </a:cubicBezTo>
                  <a:lnTo>
                    <a:pt x="6" y="188"/>
                  </a:lnTo>
                  <a:close/>
                  <a:moveTo>
                    <a:pt x="315" y="182"/>
                  </a:moveTo>
                  <a:cubicBezTo>
                    <a:pt x="309" y="182"/>
                    <a:pt x="309" y="182"/>
                    <a:pt x="309" y="182"/>
                  </a:cubicBezTo>
                  <a:cubicBezTo>
                    <a:pt x="309" y="172"/>
                    <a:pt x="309" y="172"/>
                    <a:pt x="309" y="172"/>
                  </a:cubicBezTo>
                  <a:cubicBezTo>
                    <a:pt x="315" y="172"/>
                    <a:pt x="315" y="172"/>
                    <a:pt x="315" y="172"/>
                  </a:cubicBezTo>
                  <a:lnTo>
                    <a:pt x="315" y="182"/>
                  </a:lnTo>
                  <a:close/>
                  <a:moveTo>
                    <a:pt x="6" y="17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6" y="160"/>
                    <a:pt x="6" y="160"/>
                    <a:pt x="6" y="160"/>
                  </a:cubicBezTo>
                  <a:lnTo>
                    <a:pt x="6" y="170"/>
                  </a:lnTo>
                  <a:close/>
                  <a:moveTo>
                    <a:pt x="315" y="164"/>
                  </a:moveTo>
                  <a:cubicBezTo>
                    <a:pt x="309" y="164"/>
                    <a:pt x="309" y="164"/>
                    <a:pt x="309" y="164"/>
                  </a:cubicBezTo>
                  <a:cubicBezTo>
                    <a:pt x="309" y="154"/>
                    <a:pt x="309" y="154"/>
                    <a:pt x="309" y="154"/>
                  </a:cubicBezTo>
                  <a:cubicBezTo>
                    <a:pt x="315" y="154"/>
                    <a:pt x="315" y="154"/>
                    <a:pt x="315" y="154"/>
                  </a:cubicBezTo>
                  <a:lnTo>
                    <a:pt x="315" y="164"/>
                  </a:lnTo>
                  <a:close/>
                  <a:moveTo>
                    <a:pt x="6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6" y="142"/>
                    <a:pt x="6" y="142"/>
                    <a:pt x="6" y="142"/>
                  </a:cubicBezTo>
                  <a:lnTo>
                    <a:pt x="6" y="152"/>
                  </a:lnTo>
                  <a:close/>
                  <a:moveTo>
                    <a:pt x="315" y="146"/>
                  </a:moveTo>
                  <a:cubicBezTo>
                    <a:pt x="309" y="146"/>
                    <a:pt x="309" y="146"/>
                    <a:pt x="309" y="146"/>
                  </a:cubicBezTo>
                  <a:cubicBezTo>
                    <a:pt x="309" y="136"/>
                    <a:pt x="309" y="136"/>
                    <a:pt x="309" y="136"/>
                  </a:cubicBezTo>
                  <a:cubicBezTo>
                    <a:pt x="315" y="136"/>
                    <a:pt x="315" y="136"/>
                    <a:pt x="315" y="136"/>
                  </a:cubicBezTo>
                  <a:lnTo>
                    <a:pt x="315" y="146"/>
                  </a:lnTo>
                  <a:close/>
                  <a:moveTo>
                    <a:pt x="6" y="134"/>
                  </a:moveTo>
                  <a:cubicBezTo>
                    <a:pt x="0" y="134"/>
                    <a:pt x="0" y="134"/>
                    <a:pt x="0" y="13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6" y="124"/>
                    <a:pt x="6" y="124"/>
                    <a:pt x="6" y="124"/>
                  </a:cubicBezTo>
                  <a:lnTo>
                    <a:pt x="6" y="134"/>
                  </a:lnTo>
                  <a:close/>
                  <a:moveTo>
                    <a:pt x="315" y="128"/>
                  </a:moveTo>
                  <a:cubicBezTo>
                    <a:pt x="309" y="128"/>
                    <a:pt x="309" y="128"/>
                    <a:pt x="309" y="128"/>
                  </a:cubicBezTo>
                  <a:cubicBezTo>
                    <a:pt x="309" y="118"/>
                    <a:pt x="309" y="118"/>
                    <a:pt x="309" y="118"/>
                  </a:cubicBezTo>
                  <a:cubicBezTo>
                    <a:pt x="315" y="118"/>
                    <a:pt x="315" y="118"/>
                    <a:pt x="315" y="118"/>
                  </a:cubicBezTo>
                  <a:lnTo>
                    <a:pt x="315" y="128"/>
                  </a:lnTo>
                  <a:close/>
                  <a:moveTo>
                    <a:pt x="6" y="116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6" y="106"/>
                    <a:pt x="6" y="106"/>
                    <a:pt x="6" y="106"/>
                  </a:cubicBezTo>
                  <a:lnTo>
                    <a:pt x="6" y="116"/>
                  </a:lnTo>
                  <a:close/>
                  <a:moveTo>
                    <a:pt x="315" y="110"/>
                  </a:moveTo>
                  <a:cubicBezTo>
                    <a:pt x="309" y="110"/>
                    <a:pt x="309" y="110"/>
                    <a:pt x="309" y="110"/>
                  </a:cubicBezTo>
                  <a:cubicBezTo>
                    <a:pt x="309" y="100"/>
                    <a:pt x="309" y="100"/>
                    <a:pt x="309" y="100"/>
                  </a:cubicBezTo>
                  <a:cubicBezTo>
                    <a:pt x="315" y="100"/>
                    <a:pt x="315" y="100"/>
                    <a:pt x="315" y="100"/>
                  </a:cubicBezTo>
                  <a:lnTo>
                    <a:pt x="315" y="110"/>
                  </a:lnTo>
                  <a:close/>
                  <a:moveTo>
                    <a:pt x="6" y="9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6" y="88"/>
                    <a:pt x="6" y="88"/>
                  </a:cubicBezTo>
                  <a:lnTo>
                    <a:pt x="6" y="98"/>
                  </a:lnTo>
                  <a:close/>
                  <a:moveTo>
                    <a:pt x="315" y="92"/>
                  </a:moveTo>
                  <a:cubicBezTo>
                    <a:pt x="309" y="92"/>
                    <a:pt x="309" y="92"/>
                    <a:pt x="309" y="92"/>
                  </a:cubicBezTo>
                  <a:cubicBezTo>
                    <a:pt x="309" y="82"/>
                    <a:pt x="309" y="82"/>
                    <a:pt x="309" y="82"/>
                  </a:cubicBezTo>
                  <a:cubicBezTo>
                    <a:pt x="315" y="82"/>
                    <a:pt x="315" y="82"/>
                    <a:pt x="315" y="82"/>
                  </a:cubicBezTo>
                  <a:lnTo>
                    <a:pt x="315" y="92"/>
                  </a:lnTo>
                  <a:close/>
                  <a:moveTo>
                    <a:pt x="6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6" y="70"/>
                    <a:pt x="6" y="70"/>
                    <a:pt x="6" y="70"/>
                  </a:cubicBezTo>
                  <a:lnTo>
                    <a:pt x="6" y="80"/>
                  </a:lnTo>
                  <a:close/>
                  <a:moveTo>
                    <a:pt x="315" y="74"/>
                  </a:moveTo>
                  <a:cubicBezTo>
                    <a:pt x="309" y="74"/>
                    <a:pt x="309" y="74"/>
                    <a:pt x="309" y="74"/>
                  </a:cubicBezTo>
                  <a:cubicBezTo>
                    <a:pt x="309" y="64"/>
                    <a:pt x="309" y="64"/>
                    <a:pt x="309" y="64"/>
                  </a:cubicBezTo>
                  <a:cubicBezTo>
                    <a:pt x="315" y="64"/>
                    <a:pt x="315" y="64"/>
                    <a:pt x="315" y="64"/>
                  </a:cubicBezTo>
                  <a:lnTo>
                    <a:pt x="315" y="74"/>
                  </a:lnTo>
                  <a:close/>
                  <a:moveTo>
                    <a:pt x="6" y="62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52"/>
                    <a:pt x="6" y="52"/>
                    <a:pt x="6" y="52"/>
                  </a:cubicBezTo>
                  <a:lnTo>
                    <a:pt x="6" y="62"/>
                  </a:lnTo>
                  <a:close/>
                  <a:moveTo>
                    <a:pt x="315" y="56"/>
                  </a:moveTo>
                  <a:cubicBezTo>
                    <a:pt x="309" y="56"/>
                    <a:pt x="309" y="56"/>
                    <a:pt x="309" y="56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315" y="46"/>
                    <a:pt x="315" y="46"/>
                    <a:pt x="315" y="46"/>
                  </a:cubicBezTo>
                  <a:lnTo>
                    <a:pt x="315" y="56"/>
                  </a:lnTo>
                  <a:close/>
                  <a:moveTo>
                    <a:pt x="6" y="44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9"/>
                    <a:pt x="0" y="36"/>
                    <a:pt x="1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7"/>
                    <a:pt x="6" y="39"/>
                    <a:pt x="6" y="42"/>
                  </a:cubicBezTo>
                  <a:lnTo>
                    <a:pt x="6" y="44"/>
                  </a:lnTo>
                  <a:close/>
                  <a:moveTo>
                    <a:pt x="309" y="38"/>
                  </a:moveTo>
                  <a:cubicBezTo>
                    <a:pt x="308" y="35"/>
                    <a:pt x="308" y="32"/>
                    <a:pt x="307" y="29"/>
                  </a:cubicBezTo>
                  <a:cubicBezTo>
                    <a:pt x="312" y="27"/>
                    <a:pt x="312" y="27"/>
                    <a:pt x="312" y="27"/>
                  </a:cubicBezTo>
                  <a:cubicBezTo>
                    <a:pt x="314" y="31"/>
                    <a:pt x="314" y="34"/>
                    <a:pt x="315" y="38"/>
                  </a:cubicBezTo>
                  <a:lnTo>
                    <a:pt x="309" y="38"/>
                  </a:lnTo>
                  <a:close/>
                  <a:moveTo>
                    <a:pt x="9" y="28"/>
                  </a:moveTo>
                  <a:cubicBezTo>
                    <a:pt x="3" y="25"/>
                    <a:pt x="3" y="25"/>
                    <a:pt x="3" y="25"/>
                  </a:cubicBezTo>
                  <a:cubicBezTo>
                    <a:pt x="4" y="22"/>
                    <a:pt x="6" y="19"/>
                    <a:pt x="9" y="16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1" y="22"/>
                    <a:pt x="10" y="25"/>
                    <a:pt x="9" y="28"/>
                  </a:cubicBezTo>
                  <a:close/>
                  <a:moveTo>
                    <a:pt x="303" y="23"/>
                  </a:moveTo>
                  <a:cubicBezTo>
                    <a:pt x="302" y="20"/>
                    <a:pt x="300" y="18"/>
                    <a:pt x="298" y="16"/>
                  </a:cubicBezTo>
                  <a:cubicBezTo>
                    <a:pt x="302" y="11"/>
                    <a:pt x="302" y="11"/>
                    <a:pt x="302" y="11"/>
                  </a:cubicBezTo>
                  <a:cubicBezTo>
                    <a:pt x="304" y="14"/>
                    <a:pt x="307" y="16"/>
                    <a:pt x="309" y="19"/>
                  </a:cubicBezTo>
                  <a:lnTo>
                    <a:pt x="303" y="23"/>
                  </a:lnTo>
                  <a:close/>
                  <a:moveTo>
                    <a:pt x="18" y="14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7" y="8"/>
                    <a:pt x="20" y="6"/>
                    <a:pt x="24" y="4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3" y="11"/>
                    <a:pt x="21" y="12"/>
                    <a:pt x="18" y="14"/>
                  </a:cubicBezTo>
                  <a:close/>
                  <a:moveTo>
                    <a:pt x="292" y="11"/>
                  </a:moveTo>
                  <a:cubicBezTo>
                    <a:pt x="289" y="10"/>
                    <a:pt x="286" y="8"/>
                    <a:pt x="283" y="7"/>
                  </a:cubicBezTo>
                  <a:cubicBezTo>
                    <a:pt x="285" y="2"/>
                    <a:pt x="285" y="2"/>
                    <a:pt x="285" y="2"/>
                  </a:cubicBezTo>
                  <a:cubicBezTo>
                    <a:pt x="288" y="3"/>
                    <a:pt x="292" y="4"/>
                    <a:pt x="295" y="6"/>
                  </a:cubicBezTo>
                  <a:lnTo>
                    <a:pt x="292" y="11"/>
                  </a:lnTo>
                  <a:close/>
                  <a:moveTo>
                    <a:pt x="33" y="7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35" y="0"/>
                    <a:pt x="38" y="0"/>
                    <a:pt x="4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39" y="6"/>
                    <a:pt x="36" y="6"/>
                    <a:pt x="33" y="7"/>
                  </a:cubicBezTo>
                  <a:close/>
                  <a:moveTo>
                    <a:pt x="276" y="6"/>
                  </a:moveTo>
                  <a:cubicBezTo>
                    <a:pt x="275" y="6"/>
                    <a:pt x="274" y="6"/>
                    <a:pt x="273" y="6"/>
                  </a:cubicBezTo>
                  <a:cubicBezTo>
                    <a:pt x="266" y="6"/>
                    <a:pt x="266" y="6"/>
                    <a:pt x="266" y="6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4" y="0"/>
                    <a:pt x="276" y="0"/>
                    <a:pt x="277" y="0"/>
                  </a:cubicBezTo>
                  <a:lnTo>
                    <a:pt x="276" y="6"/>
                  </a:lnTo>
                  <a:close/>
                  <a:moveTo>
                    <a:pt x="258" y="6"/>
                  </a:moveTo>
                  <a:cubicBezTo>
                    <a:pt x="248" y="6"/>
                    <a:pt x="248" y="6"/>
                    <a:pt x="248" y="6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58" y="0"/>
                    <a:pt x="258" y="0"/>
                    <a:pt x="258" y="0"/>
                  </a:cubicBezTo>
                  <a:lnTo>
                    <a:pt x="258" y="6"/>
                  </a:lnTo>
                  <a:close/>
                  <a:moveTo>
                    <a:pt x="240" y="6"/>
                  </a:moveTo>
                  <a:cubicBezTo>
                    <a:pt x="230" y="6"/>
                    <a:pt x="230" y="6"/>
                    <a:pt x="230" y="6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40" y="0"/>
                    <a:pt x="240" y="0"/>
                    <a:pt x="240" y="0"/>
                  </a:cubicBezTo>
                  <a:lnTo>
                    <a:pt x="240" y="6"/>
                  </a:lnTo>
                  <a:close/>
                  <a:moveTo>
                    <a:pt x="222" y="6"/>
                  </a:moveTo>
                  <a:cubicBezTo>
                    <a:pt x="212" y="6"/>
                    <a:pt x="212" y="6"/>
                    <a:pt x="212" y="6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22" y="0"/>
                    <a:pt x="222" y="0"/>
                    <a:pt x="222" y="0"/>
                  </a:cubicBezTo>
                  <a:lnTo>
                    <a:pt x="222" y="6"/>
                  </a:lnTo>
                  <a:close/>
                  <a:moveTo>
                    <a:pt x="204" y="6"/>
                  </a:moveTo>
                  <a:cubicBezTo>
                    <a:pt x="194" y="6"/>
                    <a:pt x="194" y="6"/>
                    <a:pt x="194" y="6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204" y="0"/>
                    <a:pt x="204" y="0"/>
                    <a:pt x="204" y="0"/>
                  </a:cubicBezTo>
                  <a:lnTo>
                    <a:pt x="204" y="6"/>
                  </a:lnTo>
                  <a:close/>
                  <a:moveTo>
                    <a:pt x="186" y="6"/>
                  </a:moveTo>
                  <a:cubicBezTo>
                    <a:pt x="176" y="6"/>
                    <a:pt x="176" y="6"/>
                    <a:pt x="176" y="6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86" y="0"/>
                    <a:pt x="186" y="0"/>
                    <a:pt x="186" y="0"/>
                  </a:cubicBezTo>
                  <a:lnTo>
                    <a:pt x="186" y="6"/>
                  </a:lnTo>
                  <a:close/>
                  <a:moveTo>
                    <a:pt x="168" y="6"/>
                  </a:moveTo>
                  <a:cubicBezTo>
                    <a:pt x="158" y="6"/>
                    <a:pt x="158" y="6"/>
                    <a:pt x="158" y="6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8" y="0"/>
                    <a:pt x="168" y="0"/>
                    <a:pt x="168" y="0"/>
                  </a:cubicBezTo>
                  <a:lnTo>
                    <a:pt x="168" y="6"/>
                  </a:lnTo>
                  <a:close/>
                  <a:moveTo>
                    <a:pt x="150" y="6"/>
                  </a:moveTo>
                  <a:cubicBezTo>
                    <a:pt x="140" y="6"/>
                    <a:pt x="140" y="6"/>
                    <a:pt x="140" y="6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50" y="0"/>
                    <a:pt x="150" y="0"/>
                    <a:pt x="150" y="0"/>
                  </a:cubicBezTo>
                  <a:lnTo>
                    <a:pt x="150" y="6"/>
                  </a:lnTo>
                  <a:close/>
                  <a:moveTo>
                    <a:pt x="132" y="6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32" y="0"/>
                    <a:pt x="132" y="0"/>
                    <a:pt x="132" y="0"/>
                  </a:cubicBezTo>
                  <a:lnTo>
                    <a:pt x="132" y="6"/>
                  </a:lnTo>
                  <a:close/>
                  <a:moveTo>
                    <a:pt x="114" y="6"/>
                  </a:moveTo>
                  <a:cubicBezTo>
                    <a:pt x="104" y="6"/>
                    <a:pt x="104" y="6"/>
                    <a:pt x="104" y="6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4" y="0"/>
                    <a:pt x="114" y="0"/>
                    <a:pt x="114" y="0"/>
                  </a:cubicBezTo>
                  <a:lnTo>
                    <a:pt x="114" y="6"/>
                  </a:lnTo>
                  <a:close/>
                  <a:moveTo>
                    <a:pt x="96" y="6"/>
                  </a:moveTo>
                  <a:cubicBezTo>
                    <a:pt x="86" y="6"/>
                    <a:pt x="86" y="6"/>
                    <a:pt x="86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96" y="6"/>
                  </a:lnTo>
                  <a:close/>
                  <a:moveTo>
                    <a:pt x="78" y="6"/>
                  </a:moveTo>
                  <a:cubicBezTo>
                    <a:pt x="68" y="6"/>
                    <a:pt x="68" y="6"/>
                    <a:pt x="68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8" y="0"/>
                    <a:pt x="78" y="0"/>
                    <a:pt x="78" y="0"/>
                  </a:cubicBezTo>
                  <a:lnTo>
                    <a:pt x="78" y="6"/>
                  </a:lnTo>
                  <a:close/>
                  <a:moveTo>
                    <a:pt x="60" y="6"/>
                  </a:moveTo>
                  <a:cubicBezTo>
                    <a:pt x="50" y="6"/>
                    <a:pt x="50" y="6"/>
                    <a:pt x="50" y="6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58">
                <a:defRPr/>
              </a:pPr>
              <a:endParaRPr lang="en-US" sz="1349" kern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84" name="Freeform 128">
              <a:extLst>
                <a:ext uri="{FF2B5EF4-FFF2-40B4-BE49-F238E27FC236}">
                  <a16:creationId xmlns:a16="http://schemas.microsoft.com/office/drawing/2014/main" id="{3BFB65D3-7A3E-974C-91AA-67D4413239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8072" y="2693503"/>
              <a:ext cx="415474" cy="399850"/>
            </a:xfrm>
            <a:custGeom>
              <a:avLst/>
              <a:gdLst>
                <a:gd name="T0" fmla="*/ 277 w 322"/>
                <a:gd name="T1" fmla="*/ 321 h 321"/>
                <a:gd name="T2" fmla="*/ 45 w 322"/>
                <a:gd name="T3" fmla="*/ 321 h 321"/>
                <a:gd name="T4" fmla="*/ 0 w 322"/>
                <a:gd name="T5" fmla="*/ 277 h 321"/>
                <a:gd name="T6" fmla="*/ 0 w 322"/>
                <a:gd name="T7" fmla="*/ 45 h 321"/>
                <a:gd name="T8" fmla="*/ 45 w 322"/>
                <a:gd name="T9" fmla="*/ 0 h 321"/>
                <a:gd name="T10" fmla="*/ 277 w 322"/>
                <a:gd name="T11" fmla="*/ 0 h 321"/>
                <a:gd name="T12" fmla="*/ 322 w 322"/>
                <a:gd name="T13" fmla="*/ 45 h 321"/>
                <a:gd name="T14" fmla="*/ 322 w 322"/>
                <a:gd name="T15" fmla="*/ 277 h 321"/>
                <a:gd name="T16" fmla="*/ 277 w 322"/>
                <a:gd name="T17" fmla="*/ 321 h 321"/>
                <a:gd name="T18" fmla="*/ 45 w 322"/>
                <a:gd name="T19" fmla="*/ 12 h 321"/>
                <a:gd name="T20" fmla="*/ 12 w 322"/>
                <a:gd name="T21" fmla="*/ 45 h 321"/>
                <a:gd name="T22" fmla="*/ 12 w 322"/>
                <a:gd name="T23" fmla="*/ 277 h 321"/>
                <a:gd name="T24" fmla="*/ 45 w 322"/>
                <a:gd name="T25" fmla="*/ 309 h 321"/>
                <a:gd name="T26" fmla="*/ 277 w 322"/>
                <a:gd name="T27" fmla="*/ 309 h 321"/>
                <a:gd name="T28" fmla="*/ 310 w 322"/>
                <a:gd name="T29" fmla="*/ 277 h 321"/>
                <a:gd name="T30" fmla="*/ 310 w 322"/>
                <a:gd name="T31" fmla="*/ 45 h 321"/>
                <a:gd name="T32" fmla="*/ 277 w 322"/>
                <a:gd name="T33" fmla="*/ 12 h 321"/>
                <a:gd name="T34" fmla="*/ 45 w 322"/>
                <a:gd name="T35" fmla="*/ 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2" h="321">
                  <a:moveTo>
                    <a:pt x="277" y="321"/>
                  </a:moveTo>
                  <a:cubicBezTo>
                    <a:pt x="45" y="321"/>
                    <a:pt x="45" y="321"/>
                    <a:pt x="45" y="321"/>
                  </a:cubicBezTo>
                  <a:cubicBezTo>
                    <a:pt x="20" y="321"/>
                    <a:pt x="0" y="301"/>
                    <a:pt x="0" y="27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302" y="0"/>
                    <a:pt x="322" y="20"/>
                    <a:pt x="322" y="45"/>
                  </a:cubicBezTo>
                  <a:cubicBezTo>
                    <a:pt x="322" y="277"/>
                    <a:pt x="322" y="277"/>
                    <a:pt x="322" y="277"/>
                  </a:cubicBezTo>
                  <a:cubicBezTo>
                    <a:pt x="322" y="301"/>
                    <a:pt x="302" y="321"/>
                    <a:pt x="277" y="321"/>
                  </a:cubicBezTo>
                  <a:close/>
                  <a:moveTo>
                    <a:pt x="45" y="12"/>
                  </a:moveTo>
                  <a:cubicBezTo>
                    <a:pt x="27" y="12"/>
                    <a:pt x="12" y="27"/>
                    <a:pt x="12" y="45"/>
                  </a:cubicBezTo>
                  <a:cubicBezTo>
                    <a:pt x="12" y="277"/>
                    <a:pt x="12" y="277"/>
                    <a:pt x="12" y="277"/>
                  </a:cubicBezTo>
                  <a:cubicBezTo>
                    <a:pt x="12" y="295"/>
                    <a:pt x="27" y="309"/>
                    <a:pt x="45" y="309"/>
                  </a:cubicBezTo>
                  <a:cubicBezTo>
                    <a:pt x="277" y="309"/>
                    <a:pt x="277" y="309"/>
                    <a:pt x="277" y="309"/>
                  </a:cubicBezTo>
                  <a:cubicBezTo>
                    <a:pt x="295" y="309"/>
                    <a:pt x="310" y="295"/>
                    <a:pt x="310" y="277"/>
                  </a:cubicBezTo>
                  <a:cubicBezTo>
                    <a:pt x="310" y="45"/>
                    <a:pt x="310" y="45"/>
                    <a:pt x="310" y="45"/>
                  </a:cubicBezTo>
                  <a:cubicBezTo>
                    <a:pt x="310" y="27"/>
                    <a:pt x="295" y="12"/>
                    <a:pt x="277" y="12"/>
                  </a:cubicBezTo>
                  <a:lnTo>
                    <a:pt x="45" y="1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58">
                <a:defRPr/>
              </a:pPr>
              <a:endParaRPr lang="en-US" sz="1349" kern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665700D-F823-6B44-AC18-DF9CF503BA64}"/>
                </a:ext>
              </a:extLst>
            </p:cNvPr>
            <p:cNvSpPr txBox="1"/>
            <p:nvPr/>
          </p:nvSpPr>
          <p:spPr>
            <a:xfrm>
              <a:off x="7295745" y="3152453"/>
              <a:ext cx="118184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lang="en-US" altLang="ja-JP" sz="900">
                  <a:solidFill>
                    <a:srgbClr val="FFFFFF"/>
                  </a:solidFill>
                  <a:latin typeface="Arial"/>
                </a:rPr>
                <a:t>VMware</a:t>
              </a:r>
              <a:r>
                <a:rPr lang="ja-JP" altLang="en-US" sz="900">
                  <a:solidFill>
                    <a:srgbClr val="FFFFFF"/>
                  </a:solidFill>
                  <a:latin typeface="Arial"/>
                </a:rPr>
                <a:t>統合</a:t>
              </a:r>
              <a:endParaRPr sz="90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D89C70-42A3-4B4A-B8B5-019037F7E78D}"/>
              </a:ext>
            </a:extLst>
          </p:cNvPr>
          <p:cNvGrpSpPr/>
          <p:nvPr/>
        </p:nvGrpSpPr>
        <p:grpSpPr>
          <a:xfrm>
            <a:off x="79956" y="2036214"/>
            <a:ext cx="1181849" cy="821707"/>
            <a:chOff x="628974" y="2630488"/>
            <a:chExt cx="1181849" cy="821707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B2B7FB9-59A4-224A-BBE2-2BAF3AA031CC}"/>
                </a:ext>
              </a:extLst>
            </p:cNvPr>
            <p:cNvSpPr txBox="1"/>
            <p:nvPr/>
          </p:nvSpPr>
          <p:spPr>
            <a:xfrm>
              <a:off x="628974" y="3221363"/>
              <a:ext cx="1181849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検索と分析</a:t>
              </a:r>
            </a:p>
          </p:txBody>
        </p:sp>
        <p:grpSp>
          <p:nvGrpSpPr>
            <p:cNvPr id="2" name="Group 4">
              <a:extLst>
                <a:ext uri="{FF2B5EF4-FFF2-40B4-BE49-F238E27FC236}">
                  <a16:creationId xmlns:a16="http://schemas.microsoft.com/office/drawing/2014/main" id="{459D421A-0835-49C9-9979-97975447F2A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12813" y="2630488"/>
              <a:ext cx="614362" cy="534987"/>
              <a:chOff x="575" y="1657"/>
              <a:chExt cx="387" cy="337"/>
            </a:xfrm>
            <a:noFill/>
          </p:grpSpPr>
          <p:sp>
            <p:nvSpPr>
              <p:cNvPr id="3" name="AutoShape 3">
                <a:extLst>
                  <a:ext uri="{FF2B5EF4-FFF2-40B4-BE49-F238E27FC236}">
                    <a16:creationId xmlns:a16="http://schemas.microsoft.com/office/drawing/2014/main" id="{2F61A67B-5568-429F-8C5F-7723D7C43E1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75" y="1657"/>
                <a:ext cx="387" cy="3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4976A72C-A0FB-4798-A73E-E6E5B36D8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" y="1658"/>
                <a:ext cx="324" cy="214"/>
              </a:xfrm>
              <a:custGeom>
                <a:avLst/>
                <a:gdLst>
                  <a:gd name="T0" fmla="*/ 0 w 1267"/>
                  <a:gd name="T1" fmla="*/ 938 h 938"/>
                  <a:gd name="T2" fmla="*/ 0 w 1267"/>
                  <a:gd name="T3" fmla="*/ 938 h 938"/>
                  <a:gd name="T4" fmla="*/ 262 w 1267"/>
                  <a:gd name="T5" fmla="*/ 630 h 938"/>
                  <a:gd name="T6" fmla="*/ 398 w 1267"/>
                  <a:gd name="T7" fmla="*/ 784 h 938"/>
                  <a:gd name="T8" fmla="*/ 658 w 1267"/>
                  <a:gd name="T9" fmla="*/ 425 h 938"/>
                  <a:gd name="T10" fmla="*/ 788 w 1267"/>
                  <a:gd name="T11" fmla="*/ 526 h 938"/>
                  <a:gd name="T12" fmla="*/ 1267 w 1267"/>
                  <a:gd name="T13" fmla="*/ 0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7" h="938">
                    <a:moveTo>
                      <a:pt x="0" y="938"/>
                    </a:moveTo>
                    <a:lnTo>
                      <a:pt x="0" y="938"/>
                    </a:lnTo>
                    <a:lnTo>
                      <a:pt x="262" y="630"/>
                    </a:lnTo>
                    <a:lnTo>
                      <a:pt x="398" y="784"/>
                    </a:lnTo>
                    <a:lnTo>
                      <a:pt x="658" y="425"/>
                    </a:lnTo>
                    <a:lnTo>
                      <a:pt x="788" y="526"/>
                    </a:lnTo>
                    <a:lnTo>
                      <a:pt x="1267" y="0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6" name="Freeform 6">
                <a:extLst>
                  <a:ext uri="{FF2B5EF4-FFF2-40B4-BE49-F238E27FC236}">
                    <a16:creationId xmlns:a16="http://schemas.microsoft.com/office/drawing/2014/main" id="{18661DF3-6774-4BF1-92D4-C465170CF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52B6ACC6-1BD9-4586-8384-ED36D8F79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F642EB04-9CD9-4606-8A60-1BCE745540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5B460A5F-DB4E-4BCC-A65C-7873FBFF3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B50EC7BE-E70B-4608-85C4-8AE035FBC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9CDBB369-1AB9-42C8-8286-8F01E1E5F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" y="1860"/>
                <a:ext cx="0" cy="19"/>
              </a:xfrm>
              <a:custGeom>
                <a:avLst/>
                <a:gdLst>
                  <a:gd name="T0" fmla="*/ 0 h 81"/>
                  <a:gd name="T1" fmla="*/ 0 h 81"/>
                  <a:gd name="T2" fmla="*/ 81 h 8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1">
                    <a:moveTo>
                      <a:pt x="0" y="0"/>
                    </a:moveTo>
                    <a:lnTo>
                      <a:pt x="0" y="0"/>
                    </a:lnTo>
                    <a:lnTo>
                      <a:pt x="0" y="81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928090CF-763B-432B-A7AB-0CAE18453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" y="1695"/>
                <a:ext cx="251" cy="224"/>
              </a:xfrm>
              <a:custGeom>
                <a:avLst/>
                <a:gdLst>
                  <a:gd name="T0" fmla="*/ 880 w 984"/>
                  <a:gd name="T1" fmla="*/ 793 h 983"/>
                  <a:gd name="T2" fmla="*/ 880 w 984"/>
                  <a:gd name="T3" fmla="*/ 793 h 983"/>
                  <a:gd name="T4" fmla="*/ 981 w 984"/>
                  <a:gd name="T5" fmla="*/ 543 h 983"/>
                  <a:gd name="T6" fmla="*/ 984 w 984"/>
                  <a:gd name="T7" fmla="*/ 491 h 983"/>
                  <a:gd name="T8" fmla="*/ 944 w 984"/>
                  <a:gd name="T9" fmla="*/ 298 h 983"/>
                  <a:gd name="T10" fmla="*/ 705 w 984"/>
                  <a:gd name="T11" fmla="*/ 49 h 983"/>
                  <a:gd name="T12" fmla="*/ 492 w 984"/>
                  <a:gd name="T13" fmla="*/ 0 h 983"/>
                  <a:gd name="T14" fmla="*/ 0 w 984"/>
                  <a:gd name="T15" fmla="*/ 491 h 983"/>
                  <a:gd name="T16" fmla="*/ 492 w 984"/>
                  <a:gd name="T17" fmla="*/ 983 h 983"/>
                  <a:gd name="T18" fmla="*/ 880 w 984"/>
                  <a:gd name="T19" fmla="*/ 793 h 983"/>
                  <a:gd name="T20" fmla="*/ 880 w 984"/>
                  <a:gd name="T21" fmla="*/ 793 h 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84" h="983">
                    <a:moveTo>
                      <a:pt x="880" y="793"/>
                    </a:moveTo>
                    <a:lnTo>
                      <a:pt x="880" y="793"/>
                    </a:lnTo>
                    <a:cubicBezTo>
                      <a:pt x="935" y="722"/>
                      <a:pt x="971" y="637"/>
                      <a:pt x="981" y="543"/>
                    </a:cubicBezTo>
                    <a:cubicBezTo>
                      <a:pt x="983" y="526"/>
                      <a:pt x="984" y="509"/>
                      <a:pt x="984" y="491"/>
                    </a:cubicBezTo>
                    <a:cubicBezTo>
                      <a:pt x="984" y="423"/>
                      <a:pt x="970" y="357"/>
                      <a:pt x="944" y="298"/>
                    </a:cubicBezTo>
                    <a:cubicBezTo>
                      <a:pt x="897" y="189"/>
                      <a:pt x="812" y="100"/>
                      <a:pt x="705" y="49"/>
                    </a:cubicBezTo>
                    <a:cubicBezTo>
                      <a:pt x="641" y="18"/>
                      <a:pt x="569" y="0"/>
                      <a:pt x="492" y="0"/>
                    </a:cubicBezTo>
                    <a:cubicBezTo>
                      <a:pt x="221" y="0"/>
                      <a:pt x="0" y="220"/>
                      <a:pt x="0" y="491"/>
                    </a:cubicBezTo>
                    <a:cubicBezTo>
                      <a:pt x="0" y="763"/>
                      <a:pt x="221" y="983"/>
                      <a:pt x="492" y="983"/>
                    </a:cubicBezTo>
                    <a:cubicBezTo>
                      <a:pt x="650" y="983"/>
                      <a:pt x="790" y="908"/>
                      <a:pt x="880" y="793"/>
                    </a:cubicBezTo>
                    <a:lnTo>
                      <a:pt x="880" y="793"/>
                    </a:lnTo>
                    <a:close/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B9FCA7CF-413D-4D4A-8B4C-0399C8DE4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878"/>
                <a:ext cx="100" cy="109"/>
              </a:xfrm>
              <a:custGeom>
                <a:avLst/>
                <a:gdLst>
                  <a:gd name="T0" fmla="*/ 346 w 393"/>
                  <a:gd name="T1" fmla="*/ 224 h 481"/>
                  <a:gd name="T2" fmla="*/ 346 w 393"/>
                  <a:gd name="T3" fmla="*/ 224 h 481"/>
                  <a:gd name="T4" fmla="*/ 88 w 393"/>
                  <a:gd name="T5" fmla="*/ 481 h 481"/>
                  <a:gd name="T6" fmla="*/ 0 w 393"/>
                  <a:gd name="T7" fmla="*/ 393 h 481"/>
                  <a:gd name="T8" fmla="*/ 393 w 393"/>
                  <a:gd name="T9" fmla="*/ 0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3" h="481">
                    <a:moveTo>
                      <a:pt x="346" y="224"/>
                    </a:moveTo>
                    <a:lnTo>
                      <a:pt x="346" y="224"/>
                    </a:lnTo>
                    <a:lnTo>
                      <a:pt x="88" y="481"/>
                    </a:lnTo>
                    <a:lnTo>
                      <a:pt x="0" y="393"/>
                    </a:lnTo>
                    <a:lnTo>
                      <a:pt x="393" y="0"/>
                    </a:lnTo>
                  </a:path>
                </a:pathLst>
              </a:custGeom>
              <a:grpFill/>
              <a:ln w="15875" cap="flat">
                <a:solidFill>
                  <a:srgbClr val="FEFEF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4A5E9B3-3880-4D93-8C69-906A7390F9C6}"/>
              </a:ext>
            </a:extLst>
          </p:cNvPr>
          <p:cNvGrpSpPr/>
          <p:nvPr/>
        </p:nvGrpSpPr>
        <p:grpSpPr>
          <a:xfrm>
            <a:off x="6374134" y="3247100"/>
            <a:ext cx="1215181" cy="1012967"/>
            <a:chOff x="7372067" y="1042575"/>
            <a:chExt cx="1215181" cy="101296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AA5EBC63-2B1C-4A70-BF4F-89B4A1C455E1}"/>
                </a:ext>
              </a:extLst>
            </p:cNvPr>
            <p:cNvGrpSpPr/>
            <p:nvPr/>
          </p:nvGrpSpPr>
          <p:grpSpPr>
            <a:xfrm>
              <a:off x="7372067" y="1042575"/>
              <a:ext cx="1215181" cy="1012967"/>
              <a:chOff x="7358027" y="1026535"/>
              <a:chExt cx="1215181" cy="1012967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6631D8C-C58E-4780-A041-227A3C1F99FA}"/>
                  </a:ext>
                </a:extLst>
              </p:cNvPr>
              <p:cNvGrpSpPr/>
              <p:nvPr/>
            </p:nvGrpSpPr>
            <p:grpSpPr>
              <a:xfrm>
                <a:off x="7358027" y="1026535"/>
                <a:ext cx="1215181" cy="1012967"/>
                <a:chOff x="7358027" y="1026535"/>
                <a:chExt cx="1215181" cy="1012967"/>
              </a:xfrm>
            </p:grpSpPr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CD1E088B-2D02-D745-B09F-D6B1BECBAD19}"/>
                    </a:ext>
                  </a:extLst>
                </p:cNvPr>
                <p:cNvSpPr txBox="1"/>
                <p:nvPr/>
              </p:nvSpPr>
              <p:spPr>
                <a:xfrm>
                  <a:off x="7358027" y="1670170"/>
                  <a:ext cx="1215181" cy="3693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buClr>
                      <a:srgbClr val="007DB8"/>
                    </a:buClr>
                    <a:defRPr sz="1600">
                      <a:solidFill>
                        <a:srgbClr val="FFFFFF"/>
                      </a:solidFill>
                    </a:defRPr>
                  </a:pPr>
                  <a:r>
                    <a:rPr lang="ja-JP" altLang="en-US" sz="900">
                      <a:solidFill>
                        <a:srgbClr val="FFFFFF"/>
                      </a:solidFill>
                      <a:latin typeface="Arial"/>
                    </a:rPr>
                    <a:t>インスタント</a:t>
                  </a:r>
                  <a:endParaRPr lang="en-US" altLang="ja-JP" sz="900">
                    <a:solidFill>
                      <a:srgbClr val="FFFFFF"/>
                    </a:solidFill>
                    <a:latin typeface="Arial"/>
                  </a:endParaRPr>
                </a:p>
                <a:p>
                  <a:pPr algn="ctr">
                    <a:buClr>
                      <a:srgbClr val="007DB8"/>
                    </a:buClr>
                    <a:defRPr sz="1600">
                      <a:solidFill>
                        <a:srgbClr val="FFFFFF"/>
                      </a:solidFill>
                    </a:defRPr>
                  </a:pPr>
                  <a:r>
                    <a:rPr lang="ja-JP" altLang="en-US" sz="900">
                      <a:solidFill>
                        <a:srgbClr val="FFFFFF"/>
                      </a:solidFill>
                      <a:latin typeface="Arial"/>
                    </a:rPr>
                    <a:t>アクセス</a:t>
                  </a:r>
                  <a:endParaRPr sz="9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pic>
              <p:nvPicPr>
                <p:cNvPr id="83" name="Picture 82" descr="refresh-arrows-icon-blue.png">
                  <a:extLst>
                    <a:ext uri="{FF2B5EF4-FFF2-40B4-BE49-F238E27FC236}">
                      <a16:creationId xmlns:a16="http://schemas.microsoft.com/office/drawing/2014/main" id="{A2760BEA-C715-C54D-A779-0C88C9B541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alphaModFix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colorTemperature colorTemp="11500"/>
                          </a14:imgEffect>
                          <a14:imgEffect>
                            <a14:saturation sat="400000"/>
                          </a14:imgEffect>
                          <a14:imgEffect>
                            <a14:brightnessContrast bright="100000" contras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44841" y="1026535"/>
                  <a:ext cx="812800" cy="794078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50800" dist="50800" dir="5400000" sx="1000" sy="1000" algn="ctr" rotWithShape="0">
                    <a:schemeClr val="tx2">
                      <a:alpha val="43000"/>
                    </a:schemeClr>
                  </a:outerShdw>
                </a:effectLst>
              </p:spPr>
            </p:pic>
          </p:grpSp>
          <p:sp>
            <p:nvSpPr>
              <p:cNvPr id="24" name="AutoShape 15">
                <a:extLst>
                  <a:ext uri="{FF2B5EF4-FFF2-40B4-BE49-F238E27FC236}">
                    <a16:creationId xmlns:a16="http://schemas.microsoft.com/office/drawing/2014/main" id="{671CCCE2-3E6B-44E9-998E-B4052792200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874000" y="1323975"/>
                <a:ext cx="174625" cy="201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AC68AF7-A889-48E7-A522-1B900ACDDDEF}"/>
                </a:ext>
              </a:extLst>
            </p:cNvPr>
            <p:cNvGrpSpPr/>
            <p:nvPr/>
          </p:nvGrpSpPr>
          <p:grpSpPr>
            <a:xfrm>
              <a:off x="7874000" y="1323975"/>
              <a:ext cx="179388" cy="204788"/>
              <a:chOff x="7874000" y="1323975"/>
              <a:chExt cx="179388" cy="204788"/>
            </a:xfrm>
          </p:grpSpPr>
          <p:sp>
            <p:nvSpPr>
              <p:cNvPr id="25" name="Freeform 17">
                <a:extLst>
                  <a:ext uri="{FF2B5EF4-FFF2-40B4-BE49-F238E27FC236}">
                    <a16:creationId xmlns:a16="http://schemas.microsoft.com/office/drawing/2014/main" id="{F61B3EA6-F0B7-4610-956D-3CAC3E18F9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74000" y="1323975"/>
                <a:ext cx="147638" cy="188913"/>
              </a:xfrm>
              <a:custGeom>
                <a:avLst/>
                <a:gdLst>
                  <a:gd name="T0" fmla="*/ 215 w 430"/>
                  <a:gd name="T1" fmla="*/ 25 h 559"/>
                  <a:gd name="T2" fmla="*/ 215 w 430"/>
                  <a:gd name="T3" fmla="*/ 25 h 559"/>
                  <a:gd name="T4" fmla="*/ 403 w 430"/>
                  <a:gd name="T5" fmla="*/ 79 h 559"/>
                  <a:gd name="T6" fmla="*/ 215 w 430"/>
                  <a:gd name="T7" fmla="*/ 132 h 559"/>
                  <a:gd name="T8" fmla="*/ 26 w 430"/>
                  <a:gd name="T9" fmla="*/ 79 h 559"/>
                  <a:gd name="T10" fmla="*/ 215 w 430"/>
                  <a:gd name="T11" fmla="*/ 25 h 559"/>
                  <a:gd name="T12" fmla="*/ 215 w 430"/>
                  <a:gd name="T13" fmla="*/ 265 h 559"/>
                  <a:gd name="T14" fmla="*/ 215 w 430"/>
                  <a:gd name="T15" fmla="*/ 265 h 559"/>
                  <a:gd name="T16" fmla="*/ 26 w 430"/>
                  <a:gd name="T17" fmla="*/ 212 h 559"/>
                  <a:gd name="T18" fmla="*/ 26 w 430"/>
                  <a:gd name="T19" fmla="*/ 119 h 559"/>
                  <a:gd name="T20" fmla="*/ 215 w 430"/>
                  <a:gd name="T21" fmla="*/ 159 h 559"/>
                  <a:gd name="T22" fmla="*/ 403 w 430"/>
                  <a:gd name="T23" fmla="*/ 119 h 559"/>
                  <a:gd name="T24" fmla="*/ 403 w 430"/>
                  <a:gd name="T25" fmla="*/ 212 h 559"/>
                  <a:gd name="T26" fmla="*/ 215 w 430"/>
                  <a:gd name="T27" fmla="*/ 265 h 559"/>
                  <a:gd name="T28" fmla="*/ 215 w 430"/>
                  <a:gd name="T29" fmla="*/ 559 h 559"/>
                  <a:gd name="T30" fmla="*/ 215 w 430"/>
                  <a:gd name="T31" fmla="*/ 559 h 559"/>
                  <a:gd name="T32" fmla="*/ 228 w 430"/>
                  <a:gd name="T33" fmla="*/ 545 h 559"/>
                  <a:gd name="T34" fmla="*/ 215 w 430"/>
                  <a:gd name="T35" fmla="*/ 532 h 559"/>
                  <a:gd name="T36" fmla="*/ 26 w 430"/>
                  <a:gd name="T37" fmla="*/ 479 h 559"/>
                  <a:gd name="T38" fmla="*/ 26 w 430"/>
                  <a:gd name="T39" fmla="*/ 386 h 559"/>
                  <a:gd name="T40" fmla="*/ 215 w 430"/>
                  <a:gd name="T41" fmla="*/ 425 h 559"/>
                  <a:gd name="T42" fmla="*/ 228 w 430"/>
                  <a:gd name="T43" fmla="*/ 412 h 559"/>
                  <a:gd name="T44" fmla="*/ 215 w 430"/>
                  <a:gd name="T45" fmla="*/ 399 h 559"/>
                  <a:gd name="T46" fmla="*/ 26 w 430"/>
                  <a:gd name="T47" fmla="*/ 345 h 559"/>
                  <a:gd name="T48" fmla="*/ 26 w 430"/>
                  <a:gd name="T49" fmla="*/ 253 h 559"/>
                  <a:gd name="T50" fmla="*/ 215 w 430"/>
                  <a:gd name="T51" fmla="*/ 292 h 559"/>
                  <a:gd name="T52" fmla="*/ 403 w 430"/>
                  <a:gd name="T53" fmla="*/ 253 h 559"/>
                  <a:gd name="T54" fmla="*/ 403 w 430"/>
                  <a:gd name="T55" fmla="*/ 306 h 559"/>
                  <a:gd name="T56" fmla="*/ 417 w 430"/>
                  <a:gd name="T57" fmla="*/ 319 h 559"/>
                  <a:gd name="T58" fmla="*/ 430 w 430"/>
                  <a:gd name="T59" fmla="*/ 306 h 559"/>
                  <a:gd name="T60" fmla="*/ 430 w 430"/>
                  <a:gd name="T61" fmla="*/ 79 h 559"/>
                  <a:gd name="T62" fmla="*/ 215 w 430"/>
                  <a:gd name="T63" fmla="*/ 0 h 559"/>
                  <a:gd name="T64" fmla="*/ 0 w 430"/>
                  <a:gd name="T65" fmla="*/ 79 h 559"/>
                  <a:gd name="T66" fmla="*/ 0 w 430"/>
                  <a:gd name="T67" fmla="*/ 479 h 559"/>
                  <a:gd name="T68" fmla="*/ 215 w 430"/>
                  <a:gd name="T69" fmla="*/ 559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30" h="559">
                    <a:moveTo>
                      <a:pt x="215" y="25"/>
                    </a:moveTo>
                    <a:lnTo>
                      <a:pt x="215" y="25"/>
                    </a:lnTo>
                    <a:cubicBezTo>
                      <a:pt x="330" y="25"/>
                      <a:pt x="403" y="57"/>
                      <a:pt x="403" y="79"/>
                    </a:cubicBezTo>
                    <a:cubicBezTo>
                      <a:pt x="403" y="101"/>
                      <a:pt x="330" y="132"/>
                      <a:pt x="215" y="132"/>
                    </a:cubicBezTo>
                    <a:cubicBezTo>
                      <a:pt x="100" y="132"/>
                      <a:pt x="26" y="101"/>
                      <a:pt x="26" y="79"/>
                    </a:cubicBezTo>
                    <a:cubicBezTo>
                      <a:pt x="26" y="57"/>
                      <a:pt x="100" y="25"/>
                      <a:pt x="215" y="25"/>
                    </a:cubicBezTo>
                    <a:close/>
                    <a:moveTo>
                      <a:pt x="215" y="265"/>
                    </a:moveTo>
                    <a:lnTo>
                      <a:pt x="215" y="265"/>
                    </a:lnTo>
                    <a:cubicBezTo>
                      <a:pt x="100" y="265"/>
                      <a:pt x="26" y="234"/>
                      <a:pt x="26" y="212"/>
                    </a:cubicBezTo>
                    <a:lnTo>
                      <a:pt x="26" y="119"/>
                    </a:lnTo>
                    <a:cubicBezTo>
                      <a:pt x="65" y="145"/>
                      <a:pt x="140" y="159"/>
                      <a:pt x="215" y="159"/>
                    </a:cubicBezTo>
                    <a:cubicBezTo>
                      <a:pt x="289" y="159"/>
                      <a:pt x="365" y="145"/>
                      <a:pt x="403" y="119"/>
                    </a:cubicBezTo>
                    <a:lnTo>
                      <a:pt x="403" y="212"/>
                    </a:lnTo>
                    <a:cubicBezTo>
                      <a:pt x="403" y="234"/>
                      <a:pt x="330" y="265"/>
                      <a:pt x="215" y="265"/>
                    </a:cubicBezTo>
                    <a:close/>
                    <a:moveTo>
                      <a:pt x="215" y="559"/>
                    </a:moveTo>
                    <a:lnTo>
                      <a:pt x="215" y="559"/>
                    </a:lnTo>
                    <a:cubicBezTo>
                      <a:pt x="222" y="559"/>
                      <a:pt x="228" y="553"/>
                      <a:pt x="228" y="545"/>
                    </a:cubicBezTo>
                    <a:cubicBezTo>
                      <a:pt x="228" y="538"/>
                      <a:pt x="222" y="532"/>
                      <a:pt x="215" y="532"/>
                    </a:cubicBezTo>
                    <a:cubicBezTo>
                      <a:pt x="100" y="532"/>
                      <a:pt x="26" y="500"/>
                      <a:pt x="26" y="479"/>
                    </a:cubicBezTo>
                    <a:lnTo>
                      <a:pt x="26" y="386"/>
                    </a:lnTo>
                    <a:cubicBezTo>
                      <a:pt x="65" y="412"/>
                      <a:pt x="140" y="425"/>
                      <a:pt x="215" y="425"/>
                    </a:cubicBezTo>
                    <a:cubicBezTo>
                      <a:pt x="222" y="425"/>
                      <a:pt x="228" y="419"/>
                      <a:pt x="228" y="412"/>
                    </a:cubicBezTo>
                    <a:cubicBezTo>
                      <a:pt x="228" y="405"/>
                      <a:pt x="222" y="399"/>
                      <a:pt x="215" y="399"/>
                    </a:cubicBezTo>
                    <a:cubicBezTo>
                      <a:pt x="100" y="399"/>
                      <a:pt x="26" y="367"/>
                      <a:pt x="26" y="345"/>
                    </a:cubicBezTo>
                    <a:lnTo>
                      <a:pt x="26" y="253"/>
                    </a:lnTo>
                    <a:cubicBezTo>
                      <a:pt x="65" y="279"/>
                      <a:pt x="140" y="292"/>
                      <a:pt x="215" y="292"/>
                    </a:cubicBezTo>
                    <a:cubicBezTo>
                      <a:pt x="289" y="292"/>
                      <a:pt x="365" y="279"/>
                      <a:pt x="403" y="253"/>
                    </a:cubicBezTo>
                    <a:lnTo>
                      <a:pt x="403" y="306"/>
                    </a:lnTo>
                    <a:cubicBezTo>
                      <a:pt x="403" y="313"/>
                      <a:pt x="409" y="319"/>
                      <a:pt x="417" y="319"/>
                    </a:cubicBezTo>
                    <a:cubicBezTo>
                      <a:pt x="424" y="319"/>
                      <a:pt x="430" y="313"/>
                      <a:pt x="430" y="306"/>
                    </a:cubicBezTo>
                    <a:lnTo>
                      <a:pt x="430" y="79"/>
                    </a:lnTo>
                    <a:cubicBezTo>
                      <a:pt x="430" y="26"/>
                      <a:pt x="322" y="0"/>
                      <a:pt x="215" y="0"/>
                    </a:cubicBezTo>
                    <a:cubicBezTo>
                      <a:pt x="108" y="0"/>
                      <a:pt x="0" y="26"/>
                      <a:pt x="0" y="79"/>
                    </a:cubicBezTo>
                    <a:lnTo>
                      <a:pt x="0" y="479"/>
                    </a:lnTo>
                    <a:cubicBezTo>
                      <a:pt x="0" y="531"/>
                      <a:pt x="108" y="559"/>
                      <a:pt x="215" y="559"/>
                    </a:cubicBezTo>
                    <a:close/>
                  </a:path>
                </a:pathLst>
              </a:custGeom>
              <a:solidFill>
                <a:schemeClr val="tx2"/>
              </a:solidFill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26" name="Freeform 18">
                <a:extLst>
                  <a:ext uri="{FF2B5EF4-FFF2-40B4-BE49-F238E27FC236}">
                    <a16:creationId xmlns:a16="http://schemas.microsoft.com/office/drawing/2014/main" id="{732E1BAC-02C7-4934-8CD9-1FE615C5BB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6550" y="1433513"/>
                <a:ext cx="96838" cy="95250"/>
              </a:xfrm>
              <a:custGeom>
                <a:avLst/>
                <a:gdLst>
                  <a:gd name="T0" fmla="*/ 141 w 281"/>
                  <a:gd name="T1" fmla="*/ 254 h 281"/>
                  <a:gd name="T2" fmla="*/ 141 w 281"/>
                  <a:gd name="T3" fmla="*/ 254 h 281"/>
                  <a:gd name="T4" fmla="*/ 27 w 281"/>
                  <a:gd name="T5" fmla="*/ 140 h 281"/>
                  <a:gd name="T6" fmla="*/ 141 w 281"/>
                  <a:gd name="T7" fmla="*/ 27 h 281"/>
                  <a:gd name="T8" fmla="*/ 254 w 281"/>
                  <a:gd name="T9" fmla="*/ 140 h 281"/>
                  <a:gd name="T10" fmla="*/ 141 w 281"/>
                  <a:gd name="T11" fmla="*/ 254 h 281"/>
                  <a:gd name="T12" fmla="*/ 141 w 281"/>
                  <a:gd name="T13" fmla="*/ 0 h 281"/>
                  <a:gd name="T14" fmla="*/ 141 w 281"/>
                  <a:gd name="T15" fmla="*/ 0 h 281"/>
                  <a:gd name="T16" fmla="*/ 0 w 281"/>
                  <a:gd name="T17" fmla="*/ 140 h 281"/>
                  <a:gd name="T18" fmla="*/ 141 w 281"/>
                  <a:gd name="T19" fmla="*/ 281 h 281"/>
                  <a:gd name="T20" fmla="*/ 281 w 281"/>
                  <a:gd name="T21" fmla="*/ 140 h 281"/>
                  <a:gd name="T22" fmla="*/ 141 w 281"/>
                  <a:gd name="T23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1" h="281">
                    <a:moveTo>
                      <a:pt x="141" y="254"/>
                    </a:moveTo>
                    <a:lnTo>
                      <a:pt x="141" y="254"/>
                    </a:lnTo>
                    <a:cubicBezTo>
                      <a:pt x="78" y="254"/>
                      <a:pt x="27" y="203"/>
                      <a:pt x="27" y="140"/>
                    </a:cubicBezTo>
                    <a:cubicBezTo>
                      <a:pt x="27" y="78"/>
                      <a:pt x="78" y="27"/>
                      <a:pt x="141" y="27"/>
                    </a:cubicBezTo>
                    <a:cubicBezTo>
                      <a:pt x="203" y="27"/>
                      <a:pt x="254" y="78"/>
                      <a:pt x="254" y="140"/>
                    </a:cubicBezTo>
                    <a:cubicBezTo>
                      <a:pt x="254" y="203"/>
                      <a:pt x="203" y="254"/>
                      <a:pt x="141" y="254"/>
                    </a:cubicBezTo>
                    <a:close/>
                    <a:moveTo>
                      <a:pt x="141" y="0"/>
                    </a:moveTo>
                    <a:lnTo>
                      <a:pt x="141" y="0"/>
                    </a:lnTo>
                    <a:cubicBezTo>
                      <a:pt x="63" y="0"/>
                      <a:pt x="0" y="63"/>
                      <a:pt x="0" y="140"/>
                    </a:cubicBezTo>
                    <a:cubicBezTo>
                      <a:pt x="0" y="218"/>
                      <a:pt x="63" y="281"/>
                      <a:pt x="141" y="281"/>
                    </a:cubicBezTo>
                    <a:cubicBezTo>
                      <a:pt x="218" y="281"/>
                      <a:pt x="281" y="218"/>
                      <a:pt x="281" y="140"/>
                    </a:cubicBezTo>
                    <a:cubicBezTo>
                      <a:pt x="281" y="63"/>
                      <a:pt x="218" y="0"/>
                      <a:pt x="14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  <p:sp>
            <p:nvSpPr>
              <p:cNvPr id="27" name="Freeform 19">
                <a:extLst>
                  <a:ext uri="{FF2B5EF4-FFF2-40B4-BE49-F238E27FC236}">
                    <a16:creationId xmlns:a16="http://schemas.microsoft.com/office/drawing/2014/main" id="{A82F8B27-9CEE-47D5-8E6B-9A99B6C67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8775" y="1460500"/>
                <a:ext cx="53975" cy="47625"/>
              </a:xfrm>
              <a:custGeom>
                <a:avLst/>
                <a:gdLst>
                  <a:gd name="T0" fmla="*/ 132 w 158"/>
                  <a:gd name="T1" fmla="*/ 7 h 139"/>
                  <a:gd name="T2" fmla="*/ 132 w 158"/>
                  <a:gd name="T3" fmla="*/ 7 h 139"/>
                  <a:gd name="T4" fmla="*/ 59 w 158"/>
                  <a:gd name="T5" fmla="*/ 103 h 139"/>
                  <a:gd name="T6" fmla="*/ 26 w 158"/>
                  <a:gd name="T7" fmla="*/ 52 h 139"/>
                  <a:gd name="T8" fmla="*/ 8 w 158"/>
                  <a:gd name="T9" fmla="*/ 48 h 139"/>
                  <a:gd name="T10" fmla="*/ 4 w 158"/>
                  <a:gd name="T11" fmla="*/ 66 h 139"/>
                  <a:gd name="T12" fmla="*/ 47 w 158"/>
                  <a:gd name="T13" fmla="*/ 133 h 139"/>
                  <a:gd name="T14" fmla="*/ 58 w 158"/>
                  <a:gd name="T15" fmla="*/ 139 h 139"/>
                  <a:gd name="T16" fmla="*/ 58 w 158"/>
                  <a:gd name="T17" fmla="*/ 139 h 139"/>
                  <a:gd name="T18" fmla="*/ 69 w 158"/>
                  <a:gd name="T19" fmla="*/ 134 h 139"/>
                  <a:gd name="T20" fmla="*/ 153 w 158"/>
                  <a:gd name="T21" fmla="*/ 23 h 139"/>
                  <a:gd name="T22" fmla="*/ 151 w 158"/>
                  <a:gd name="T23" fmla="*/ 5 h 139"/>
                  <a:gd name="T24" fmla="*/ 132 w 158"/>
                  <a:gd name="T25" fmla="*/ 7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8" h="139">
                    <a:moveTo>
                      <a:pt x="132" y="7"/>
                    </a:moveTo>
                    <a:lnTo>
                      <a:pt x="132" y="7"/>
                    </a:lnTo>
                    <a:lnTo>
                      <a:pt x="59" y="103"/>
                    </a:lnTo>
                    <a:lnTo>
                      <a:pt x="26" y="52"/>
                    </a:lnTo>
                    <a:cubicBezTo>
                      <a:pt x="22" y="46"/>
                      <a:pt x="14" y="44"/>
                      <a:pt x="8" y="48"/>
                    </a:cubicBezTo>
                    <a:cubicBezTo>
                      <a:pt x="1" y="52"/>
                      <a:pt x="0" y="60"/>
                      <a:pt x="4" y="66"/>
                    </a:cubicBezTo>
                    <a:lnTo>
                      <a:pt x="47" y="133"/>
                    </a:lnTo>
                    <a:cubicBezTo>
                      <a:pt x="49" y="137"/>
                      <a:pt x="53" y="139"/>
                      <a:pt x="58" y="139"/>
                    </a:cubicBezTo>
                    <a:cubicBezTo>
                      <a:pt x="58" y="139"/>
                      <a:pt x="58" y="139"/>
                      <a:pt x="58" y="139"/>
                    </a:cubicBezTo>
                    <a:cubicBezTo>
                      <a:pt x="62" y="139"/>
                      <a:pt x="66" y="137"/>
                      <a:pt x="69" y="134"/>
                    </a:cubicBezTo>
                    <a:lnTo>
                      <a:pt x="153" y="23"/>
                    </a:lnTo>
                    <a:cubicBezTo>
                      <a:pt x="158" y="18"/>
                      <a:pt x="157" y="9"/>
                      <a:pt x="151" y="5"/>
                    </a:cubicBezTo>
                    <a:cubicBezTo>
                      <a:pt x="145" y="0"/>
                      <a:pt x="137" y="1"/>
                      <a:pt x="132" y="7"/>
                    </a:cubicBezTo>
                    <a:close/>
                  </a:path>
                </a:pathLst>
              </a:custGeom>
              <a:solidFill>
                <a:schemeClr val="tx2"/>
              </a:solidFill>
              <a:ln w="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00">
                  <a:solidFill>
                    <a:srgbClr val="444444"/>
                  </a:solidFill>
                  <a:latin typeface="Arial"/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F52943B-A266-438B-92CF-BD7AF2788C86}"/>
              </a:ext>
            </a:extLst>
          </p:cNvPr>
          <p:cNvGrpSpPr/>
          <p:nvPr/>
        </p:nvGrpSpPr>
        <p:grpSpPr>
          <a:xfrm>
            <a:off x="2133091" y="3383215"/>
            <a:ext cx="915696" cy="933188"/>
            <a:chOff x="1991653" y="1054445"/>
            <a:chExt cx="915696" cy="933187"/>
          </a:xfrm>
        </p:grpSpPr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B15ADFCA-048A-7A42-B2BA-68600BE4ECCF}"/>
                </a:ext>
              </a:extLst>
            </p:cNvPr>
            <p:cNvSpPr txBox="1"/>
            <p:nvPr/>
          </p:nvSpPr>
          <p:spPr>
            <a:xfrm>
              <a:off x="1991653" y="1618300"/>
              <a:ext cx="91569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サイバー</a:t>
              </a:r>
              <a:endParaRPr lang="en-US" sz="900">
                <a:solidFill>
                  <a:srgbClr val="FFFFFF"/>
                </a:solidFill>
                <a:latin typeface="Arial"/>
              </a:endParaRPr>
            </a:p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sz="900">
                  <a:solidFill>
                    <a:srgbClr val="FFFFFF"/>
                  </a:solidFill>
                  <a:latin typeface="Arial"/>
                </a:rPr>
                <a:t>リカバリ</a:t>
              </a:r>
            </a:p>
          </p:txBody>
        </p:sp>
        <p:pic>
          <p:nvPicPr>
            <p:cNvPr id="92" name="Graphic 91">
              <a:extLst>
                <a:ext uri="{FF2B5EF4-FFF2-40B4-BE49-F238E27FC236}">
                  <a16:creationId xmlns:a16="http://schemas.microsoft.com/office/drawing/2014/main" id="{06B882C9-F671-406C-B830-BC3787DCF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42093" y="1054445"/>
              <a:ext cx="462915" cy="54864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B4942BA-3458-43EB-9FEE-D40AECE6DCDF}"/>
              </a:ext>
            </a:extLst>
          </p:cNvPr>
          <p:cNvGrpSpPr/>
          <p:nvPr/>
        </p:nvGrpSpPr>
        <p:grpSpPr>
          <a:xfrm>
            <a:off x="4700879" y="3423856"/>
            <a:ext cx="1400463" cy="820169"/>
            <a:chOff x="7374125" y="2024103"/>
            <a:chExt cx="1400463" cy="820169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682D523-2ACD-4D43-B6D9-D8C1A5550902}"/>
                </a:ext>
              </a:extLst>
            </p:cNvPr>
            <p:cNvSpPr txBox="1"/>
            <p:nvPr/>
          </p:nvSpPr>
          <p:spPr>
            <a:xfrm>
              <a:off x="7374125" y="2613440"/>
              <a:ext cx="1400463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buClr>
                  <a:srgbClr val="007DB8"/>
                </a:buClr>
                <a:defRPr sz="1600">
                  <a:solidFill>
                    <a:srgbClr val="FFFFFF"/>
                  </a:solidFill>
                </a:defRPr>
              </a:pPr>
              <a:r>
                <a:rPr lang="ja-JP" altLang="en-US" sz="900">
                  <a:solidFill>
                    <a:srgbClr val="FFFFFF"/>
                  </a:solidFill>
                  <a:latin typeface="Arial"/>
                </a:rPr>
                <a:t>クラウド対応</a:t>
              </a:r>
              <a:endParaRPr sz="90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290AC3AC-CDD3-48C6-87E7-F652A8822A9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41404" y="2024103"/>
              <a:ext cx="857866" cy="732964"/>
              <a:chOff x="485280" y="2661323"/>
              <a:chExt cx="1103084" cy="942480"/>
            </a:xfrm>
          </p:grpSpPr>
          <p:pic>
            <p:nvPicPr>
              <p:cNvPr id="94" name="Graphic 93">
                <a:extLst>
                  <a:ext uri="{FF2B5EF4-FFF2-40B4-BE49-F238E27FC236}">
                    <a16:creationId xmlns:a16="http://schemas.microsoft.com/office/drawing/2014/main" id="{0F996F3A-45F9-43BB-BE3E-07443926AB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biLevel thresh="25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70089" y="2685528"/>
                <a:ext cx="918275" cy="918275"/>
              </a:xfrm>
              <a:prstGeom prst="rect">
                <a:avLst/>
              </a:prstGeom>
            </p:spPr>
          </p:pic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3D365634-EBE5-4CFA-B588-D3BA1019045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biLevel thresh="25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r="67771" b="15499"/>
              <a:stretch/>
            </p:blipFill>
            <p:spPr>
              <a:xfrm>
                <a:off x="485280" y="2661323"/>
                <a:ext cx="295957" cy="775953"/>
              </a:xfrm>
              <a:prstGeom prst="rect">
                <a:avLst/>
              </a:prstGeom>
            </p:spPr>
          </p:pic>
          <p:pic>
            <p:nvPicPr>
              <p:cNvPr id="96" name="Graphic 95">
                <a:extLst>
                  <a:ext uri="{FF2B5EF4-FFF2-40B4-BE49-F238E27FC236}">
                    <a16:creationId xmlns:a16="http://schemas.microsoft.com/office/drawing/2014/main" id="{BFDDA8AF-FD38-4185-91A2-7455E06911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biLevel thresh="25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l="1" r="31919" b="56683"/>
              <a:stretch/>
            </p:blipFill>
            <p:spPr>
              <a:xfrm>
                <a:off x="487869" y="2662646"/>
                <a:ext cx="625155" cy="397764"/>
              </a:xfrm>
              <a:prstGeom prst="rect">
                <a:avLst/>
              </a:prstGeom>
            </p:spPr>
          </p:pic>
        </p:grp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7D79C4C2-C13F-4AFC-9398-6F29FBB6376D}"/>
              </a:ext>
            </a:extLst>
          </p:cNvPr>
          <p:cNvSpPr txBox="1"/>
          <p:nvPr/>
        </p:nvSpPr>
        <p:spPr>
          <a:xfrm>
            <a:off x="6047326" y="1319872"/>
            <a:ext cx="2018181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 sz="2133" b="1">
                <a:solidFill>
                  <a:srgbClr val="FFFFFF"/>
                </a:solidFill>
              </a:defRPr>
            </a:pPr>
            <a:r>
              <a:rPr lang="ja-JP" altLang="en-US" sz="1600" b="1">
                <a:solidFill>
                  <a:srgbClr val="FFFFFF"/>
                </a:solidFill>
                <a:latin typeface="Arial"/>
              </a:rPr>
              <a:t>クラウドへの拡張が容易</a:t>
            </a:r>
            <a:endParaRPr lang="en-US" sz="1600" b="1">
              <a:solidFill>
                <a:srgbClr val="0076CE"/>
              </a:solidFill>
              <a:latin typeface="Arial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A1B65260-2EB8-475F-86C4-078F90588C2A}"/>
              </a:ext>
            </a:extLst>
          </p:cNvPr>
          <p:cNvSpPr txBox="1"/>
          <p:nvPr/>
        </p:nvSpPr>
        <p:spPr>
          <a:xfrm>
            <a:off x="1259571" y="1305104"/>
            <a:ext cx="1418658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 sz="2133" b="1">
                <a:solidFill>
                  <a:srgbClr val="FFFFFF"/>
                </a:solidFill>
              </a:defRPr>
            </a:pPr>
            <a:r>
              <a:rPr lang="ja-JP" altLang="en-US" sz="1600" b="1">
                <a:solidFill>
                  <a:srgbClr val="FFFFFF"/>
                </a:solidFill>
                <a:latin typeface="Arial"/>
              </a:rPr>
              <a:t>導入時間の短縮</a:t>
            </a:r>
            <a:endParaRPr lang="en-US" altLang="ja-JP" sz="1600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5FC502C-DEC6-4FB8-A6DB-027FE9800B53}"/>
              </a:ext>
            </a:extLst>
          </p:cNvPr>
          <p:cNvSpPr txBox="1"/>
          <p:nvPr/>
        </p:nvSpPr>
        <p:spPr>
          <a:xfrm>
            <a:off x="3768228" y="1260398"/>
            <a:ext cx="1436291" cy="73866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defRPr sz="2133" b="1">
                <a:solidFill>
                  <a:srgbClr val="FFFFFF"/>
                </a:solidFill>
              </a:defRPr>
            </a:pPr>
            <a:r>
              <a:rPr sz="1600" b="1" dirty="0">
                <a:solidFill>
                  <a:srgbClr val="FFFFFF"/>
                </a:solidFill>
                <a:latin typeface="Arial"/>
              </a:rPr>
              <a:t>12TB – 96TB</a:t>
            </a:r>
            <a:endParaRPr lang="en-US" sz="1600" b="1" dirty="0">
              <a:solidFill>
                <a:srgbClr val="FFFFFF"/>
              </a:solidFill>
              <a:latin typeface="Arial"/>
            </a:endParaRPr>
          </a:p>
          <a:p>
            <a:pPr algn="ctr">
              <a:defRPr sz="2133" b="1">
                <a:solidFill>
                  <a:srgbClr val="FFFFFF"/>
                </a:solidFill>
              </a:defRPr>
            </a:pPr>
            <a:endParaRPr lang="en-US" sz="1600" b="1" dirty="0">
              <a:solidFill>
                <a:srgbClr val="FFFFFF"/>
              </a:solidFill>
              <a:latin typeface="Arial"/>
            </a:endParaRPr>
          </a:p>
          <a:p>
            <a:pPr algn="ctr">
              <a:defRPr sz="2133" b="1">
                <a:solidFill>
                  <a:srgbClr val="FFFFFF"/>
                </a:solidFill>
              </a:defRPr>
            </a:pPr>
            <a:r>
              <a:rPr lang="ja-JP" altLang="en-US" sz="1600" b="1" dirty="0">
                <a:solidFill>
                  <a:srgbClr val="FFFFFF"/>
                </a:solidFill>
                <a:latin typeface="Arial"/>
              </a:rPr>
              <a:t>重複排除後容量</a:t>
            </a:r>
            <a:endParaRPr lang="en-US" sz="1600" b="1" dirty="0">
              <a:solidFill>
                <a:srgbClr val="0076CE"/>
              </a:solidFill>
              <a:latin typeface="Arial"/>
            </a:endParaRPr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8082FD4A-6599-4A12-821A-DB748FB0F72C}"/>
              </a:ext>
            </a:extLst>
          </p:cNvPr>
          <p:cNvSpPr txBox="1">
            <a:spLocks/>
          </p:cNvSpPr>
          <p:nvPr/>
        </p:nvSpPr>
        <p:spPr>
          <a:xfrm>
            <a:off x="311391" y="231897"/>
            <a:ext cx="8546099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ja-JP" altLang="en-US" sz="2400">
                <a:solidFill>
                  <a:schemeClr val="tx2"/>
                </a:solidFill>
                <a:latin typeface="Arial"/>
                <a:cs typeface="Arial"/>
              </a:rPr>
              <a:t>バックアップ専用アプライアンス：</a:t>
            </a:r>
            <a:r>
              <a:rPr lang="en-US" altLang="ja-JP" sz="2400" err="1">
                <a:solidFill>
                  <a:schemeClr val="tx2"/>
                </a:solidFill>
                <a:latin typeface="Arial"/>
                <a:cs typeface="Arial"/>
              </a:rPr>
              <a:t>PowerProtect</a:t>
            </a:r>
            <a:r>
              <a:rPr lang="en-US" altLang="ja-JP" sz="2400">
                <a:solidFill>
                  <a:schemeClr val="tx2"/>
                </a:solidFill>
                <a:latin typeface="Arial"/>
                <a:cs typeface="Arial"/>
              </a:rPr>
              <a:t> DM5500</a:t>
            </a:r>
            <a:endParaRPr lang="en-US" sz="240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FDD9C7F8-1CD4-4A10-97D7-011F3BEB1D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35999" y="2075890"/>
            <a:ext cx="4682809" cy="863780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2095301-B8CE-4D56-8B8E-3CAB3C5A56A3}"/>
              </a:ext>
            </a:extLst>
          </p:cNvPr>
          <p:cNvSpPr txBox="1"/>
          <p:nvPr/>
        </p:nvSpPr>
        <p:spPr>
          <a:xfrm>
            <a:off x="1689970" y="4695877"/>
            <a:ext cx="537486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kumimoji="1" lang="ja-JP" altLang="en-US" sz="1800">
                <a:solidFill>
                  <a:schemeClr val="tx2"/>
                </a:solidFill>
              </a:rPr>
              <a:t>重複排除後の格納容量に基づくライセンス形態（</a:t>
            </a:r>
            <a:r>
              <a:rPr kumimoji="1" lang="en-US" altLang="ja-JP" sz="1800">
                <a:solidFill>
                  <a:schemeClr val="tx2"/>
                </a:solidFill>
              </a:rPr>
              <a:t>BETB</a:t>
            </a:r>
            <a:r>
              <a:rPr kumimoji="1" lang="ja-JP" altLang="en-US" sz="1800">
                <a:solidFill>
                  <a:schemeClr val="tx2"/>
                </a:solidFill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905309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2.59259E-6 L 0.10052 -0.28642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17" y="-1432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1.85185E-6 L 0.35226 -0.0271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604" y="-135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4.93827E-7 L -0.30902 -0.2608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451" y="-1305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46914E-7 L 0.33611 -0.29722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806" y="-1487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83951E-6 L -0.03264 -0.2842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32" y="-14228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3.20988E-6 L -0.36007 -0.0179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003" y="-895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46914E-7 L -0.23507 -0.28642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53" y="-14321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1.35802E-6 L -0.06511 -0.29907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64" y="-149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F6D124-4EA1-E9AA-2611-6793893FC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303734"/>
            <a:ext cx="6716520" cy="1121846"/>
          </a:xfrm>
        </p:spPr>
        <p:txBody>
          <a:bodyPr/>
          <a:lstStyle/>
          <a:p>
            <a:r>
              <a:rPr lang="en-US" altLang="ja-JP" dirty="0" err="1"/>
              <a:t>PowerProtect</a:t>
            </a:r>
            <a:r>
              <a:rPr lang="ja-JP" altLang="en-US" dirty="0"/>
              <a:t> </a:t>
            </a:r>
            <a:r>
              <a:rPr lang="en-US" altLang="ja-JP" dirty="0"/>
              <a:t>Data</a:t>
            </a:r>
            <a:r>
              <a:rPr lang="ja-JP" altLang="en-US" dirty="0"/>
              <a:t> </a:t>
            </a:r>
            <a:r>
              <a:rPr lang="en-US" altLang="ja-JP" dirty="0"/>
              <a:t>Manager</a:t>
            </a:r>
            <a:r>
              <a:rPr lang="ja-JP" altLang="en-US" dirty="0"/>
              <a:t>の特徴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7D7203-5671-C0FC-73CE-FD7FEE65D5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243016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566A5CC-6F5A-4D53-878C-90AC0260F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Power</a:t>
            </a:r>
            <a:r>
              <a:rPr kumimoji="1" lang="ja-JP" altLang="en-US"/>
              <a:t> </a:t>
            </a:r>
            <a:r>
              <a:rPr kumimoji="1" lang="en-US" altLang="ja-JP"/>
              <a:t>Protect</a:t>
            </a:r>
            <a:r>
              <a:rPr kumimoji="1" lang="ja-JP" altLang="en-US"/>
              <a:t> </a:t>
            </a:r>
            <a:r>
              <a:rPr kumimoji="1" lang="en-US" altLang="ja-JP"/>
              <a:t>Data</a:t>
            </a:r>
            <a:r>
              <a:rPr kumimoji="1" lang="ja-JP" altLang="en-US"/>
              <a:t> </a:t>
            </a:r>
            <a:r>
              <a:rPr kumimoji="1" lang="en-US" altLang="ja-JP"/>
              <a:t>Manager</a:t>
            </a:r>
            <a:endParaRPr kumimoji="1" lang="ja-JP" altLang="en-US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E3767B13-34AC-4036-B6A2-F3D07EFC27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kumimoji="1" lang="en-US" altLang="ja-JP" err="1"/>
              <a:t>PowerProtect</a:t>
            </a:r>
            <a:r>
              <a:rPr kumimoji="1" lang="ja-JP" altLang="en-US"/>
              <a:t> </a:t>
            </a:r>
            <a:r>
              <a:rPr kumimoji="1" lang="en-US" altLang="ja-JP"/>
              <a:t>DD</a:t>
            </a:r>
            <a:r>
              <a:rPr kumimoji="1" lang="ja-JP" altLang="en-US"/>
              <a:t>のために作られ、新しいワークロードにいち早く対応するバックアップソフトウェア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8F939A37-E70B-41EB-8E8D-EC72F34B6CE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85750" y="970648"/>
            <a:ext cx="8572500" cy="3544202"/>
          </a:xfrm>
        </p:spPr>
        <p:txBody>
          <a:bodyPr/>
          <a:lstStyle/>
          <a:p>
            <a:r>
              <a:rPr kumimoji="1" lang="en-US" altLang="ja-JP"/>
              <a:t>Self-Service</a:t>
            </a:r>
            <a:r>
              <a:rPr kumimoji="1" lang="ja-JP" altLang="en-US"/>
              <a:t>を実現するプラットフォーム</a:t>
            </a:r>
            <a:endParaRPr kumimoji="1" lang="en-US" altLang="ja-JP"/>
          </a:p>
          <a:p>
            <a:pPr lvl="1"/>
            <a:r>
              <a:rPr lang="ja-JP" altLang="en-US"/>
              <a:t>バックアップ・リストアを統合管理及びセルフサービスとして提供</a:t>
            </a:r>
            <a:endParaRPr lang="en-US" altLang="ja-JP"/>
          </a:p>
          <a:p>
            <a:pPr lvl="2"/>
            <a:r>
              <a:rPr lang="ja-JP" altLang="en-US"/>
              <a:t>アプリケーションダイレクト</a:t>
            </a:r>
          </a:p>
          <a:p>
            <a:pPr lvl="2"/>
            <a:r>
              <a:rPr lang="en-US" altLang="ja-JP"/>
              <a:t>VM</a:t>
            </a:r>
            <a:r>
              <a:rPr lang="ja-JP" altLang="en-US"/>
              <a:t>のインスタントアクセス</a:t>
            </a:r>
          </a:p>
          <a:p>
            <a:pPr lvl="2"/>
            <a:r>
              <a:rPr lang="en-US" altLang="ja-JP"/>
              <a:t>vSphere Client</a:t>
            </a:r>
            <a:r>
              <a:rPr lang="ja-JP" altLang="en-US"/>
              <a:t>連携</a:t>
            </a:r>
            <a:endParaRPr lang="en-US" altLang="ja-JP"/>
          </a:p>
          <a:p>
            <a:r>
              <a:rPr kumimoji="1" lang="en-US" altLang="ja-JP" err="1"/>
              <a:t>PowerProtect</a:t>
            </a:r>
            <a:r>
              <a:rPr kumimoji="1" lang="ja-JP" altLang="en-US"/>
              <a:t> </a:t>
            </a:r>
            <a:r>
              <a:rPr kumimoji="1" lang="en-US" altLang="ja-JP"/>
              <a:t>DD</a:t>
            </a:r>
            <a:r>
              <a:rPr kumimoji="1" lang="ja-JP" altLang="en-US"/>
              <a:t>との高い統合</a:t>
            </a:r>
            <a:endParaRPr kumimoji="1" lang="en-US" altLang="ja-JP"/>
          </a:p>
          <a:p>
            <a:pPr lvl="1"/>
            <a:r>
              <a:rPr lang="ja-JP" altLang="en-US"/>
              <a:t>初めから</a:t>
            </a:r>
            <a:r>
              <a:rPr lang="en-US" altLang="ja-JP" err="1"/>
              <a:t>PowerProtect</a:t>
            </a:r>
            <a:r>
              <a:rPr lang="en-US" altLang="ja-JP"/>
              <a:t> DD</a:t>
            </a:r>
            <a:r>
              <a:rPr lang="ja-JP" altLang="en-US"/>
              <a:t>を前提に開発されているため高いレベルの統合を実現</a:t>
            </a:r>
            <a:endParaRPr lang="en-US" altLang="ja-JP"/>
          </a:p>
          <a:p>
            <a:pPr lvl="2"/>
            <a:r>
              <a:rPr kumimoji="1" lang="ja-JP" altLang="en-US"/>
              <a:t>全てのワークロードが</a:t>
            </a:r>
            <a:r>
              <a:rPr lang="en-US" altLang="ja-JP"/>
              <a:t>DD Boost</a:t>
            </a:r>
            <a:r>
              <a:rPr lang="ja-JP" altLang="en-US"/>
              <a:t>に対応</a:t>
            </a:r>
            <a:endParaRPr kumimoji="1" lang="en-US" altLang="ja-JP"/>
          </a:p>
          <a:p>
            <a:pPr lvl="2"/>
            <a:r>
              <a:rPr lang="en-US" altLang="ja-JP"/>
              <a:t>Backup</a:t>
            </a:r>
            <a:r>
              <a:rPr lang="ja-JP" altLang="en-US"/>
              <a:t>だけではなく</a:t>
            </a:r>
            <a:r>
              <a:rPr kumimoji="1" lang="en-US" altLang="ja-JP"/>
              <a:t>Replication</a:t>
            </a:r>
            <a:r>
              <a:rPr kumimoji="1" lang="ja-JP" altLang="en-US"/>
              <a:t>、</a:t>
            </a:r>
            <a:r>
              <a:rPr kumimoji="1" lang="en-US" altLang="ja-JP"/>
              <a:t>Cloud</a:t>
            </a:r>
            <a:r>
              <a:rPr kumimoji="1" lang="ja-JP" altLang="en-US"/>
              <a:t> </a:t>
            </a:r>
            <a:r>
              <a:rPr kumimoji="1" lang="en-US" altLang="ja-JP"/>
              <a:t>Tier</a:t>
            </a:r>
            <a:r>
              <a:rPr lang="ja-JP" altLang="en-US"/>
              <a:t>へも</a:t>
            </a:r>
            <a:r>
              <a:rPr lang="en-US" altLang="ja-JP"/>
              <a:t>SLA</a:t>
            </a:r>
            <a:r>
              <a:rPr lang="ja-JP" altLang="en-US"/>
              <a:t>が設定可能</a:t>
            </a:r>
            <a:endParaRPr lang="en-US" altLang="ja-JP"/>
          </a:p>
          <a:p>
            <a:pPr lvl="2"/>
            <a:r>
              <a:rPr kumimoji="1" lang="en-US" altLang="ja-JP"/>
              <a:t>Retention</a:t>
            </a:r>
            <a:r>
              <a:rPr kumimoji="1" lang="ja-JP" altLang="en-US"/>
              <a:t> </a:t>
            </a:r>
            <a:r>
              <a:rPr kumimoji="1" lang="en-US" altLang="ja-JP"/>
              <a:t>Lock</a:t>
            </a:r>
            <a:r>
              <a:rPr lang="ja-JP" altLang="en-US"/>
              <a:t>と標準で連携</a:t>
            </a:r>
            <a:endParaRPr lang="en-US" altLang="ja-JP"/>
          </a:p>
          <a:p>
            <a:pPr lvl="2"/>
            <a:r>
              <a:rPr kumimoji="1" lang="ja-JP" altLang="en-US"/>
              <a:t>管理</a:t>
            </a:r>
            <a:r>
              <a:rPr kumimoji="1" lang="en-US" altLang="ja-JP"/>
              <a:t>GUI</a:t>
            </a:r>
            <a:r>
              <a:rPr kumimoji="1" lang="ja-JP" altLang="en-US"/>
              <a:t>から</a:t>
            </a:r>
            <a:r>
              <a:rPr kumimoji="1" lang="en-US" altLang="ja-JP"/>
              <a:t>Replication</a:t>
            </a:r>
            <a:r>
              <a:rPr kumimoji="1" lang="ja-JP" altLang="en-US"/>
              <a:t>先、</a:t>
            </a:r>
            <a:r>
              <a:rPr kumimoji="1" lang="en-US" altLang="ja-JP"/>
              <a:t>Cloud</a:t>
            </a:r>
            <a:r>
              <a:rPr kumimoji="1" lang="ja-JP" altLang="en-US"/>
              <a:t> </a:t>
            </a:r>
            <a:r>
              <a:rPr kumimoji="1" lang="en-US" altLang="ja-JP"/>
              <a:t>Tier</a:t>
            </a:r>
            <a:r>
              <a:rPr lang="ja-JP" altLang="en-US"/>
              <a:t>層のバックアップも</a:t>
            </a:r>
            <a:r>
              <a:rPr lang="en-US" altLang="ja-JP"/>
              <a:t>1Step</a:t>
            </a:r>
            <a:r>
              <a:rPr lang="ja-JP" altLang="en-US"/>
              <a:t>でリストア</a:t>
            </a:r>
            <a:endParaRPr lang="en-US" altLang="ja-JP"/>
          </a:p>
          <a:p>
            <a:r>
              <a:rPr lang="ja-JP" altLang="en-US"/>
              <a:t>新しい</a:t>
            </a:r>
            <a:r>
              <a:rPr lang="en-US" altLang="ja-JP"/>
              <a:t>Workload</a:t>
            </a:r>
            <a:r>
              <a:rPr lang="ja-JP" altLang="en-US"/>
              <a:t>へいち早く対応</a:t>
            </a:r>
            <a:endParaRPr lang="en-US" altLang="ja-JP"/>
          </a:p>
          <a:p>
            <a:pPr lvl="1"/>
            <a:r>
              <a:rPr lang="ja-JP" altLang="en-US"/>
              <a:t>アジャイル型の開発により最新の</a:t>
            </a:r>
            <a:r>
              <a:rPr lang="en-US" altLang="ja-JP"/>
              <a:t>Workload</a:t>
            </a:r>
            <a:r>
              <a:rPr lang="ja-JP" altLang="en-US"/>
              <a:t>に対応</a:t>
            </a:r>
            <a:endParaRPr lang="en-US" altLang="ja-JP"/>
          </a:p>
          <a:p>
            <a:pPr lvl="2"/>
            <a:r>
              <a:rPr lang="en-US" altLang="ja-JP"/>
              <a:t>Kubernetes</a:t>
            </a:r>
            <a:r>
              <a:rPr lang="ja-JP" altLang="en-US"/>
              <a:t>へ</a:t>
            </a:r>
            <a:r>
              <a:rPr lang="en-US" altLang="ja-JP"/>
              <a:t>TKG</a:t>
            </a:r>
            <a:r>
              <a:rPr lang="ja-JP" altLang="en-US"/>
              <a:t>、</a:t>
            </a:r>
            <a:r>
              <a:rPr lang="en-US" altLang="ja-JP" err="1"/>
              <a:t>KaaS</a:t>
            </a:r>
            <a:r>
              <a:rPr lang="ja-JP" altLang="en-US"/>
              <a:t>も含めて多くの環境に対応</a:t>
            </a:r>
            <a:endParaRPr lang="en-US" altLang="ja-JP"/>
          </a:p>
          <a:p>
            <a:pPr lvl="2"/>
            <a:r>
              <a:rPr lang="en-US" altLang="ja-JP"/>
              <a:t>VMware</a:t>
            </a:r>
            <a:r>
              <a:rPr lang="ja-JP" altLang="en-US"/>
              <a:t> </a:t>
            </a:r>
            <a:r>
              <a:rPr lang="en-US" altLang="ja-JP"/>
              <a:t>Native</a:t>
            </a:r>
            <a:r>
              <a:rPr lang="ja-JP" altLang="en-US"/>
              <a:t>管理ツールとの深い統合</a:t>
            </a:r>
            <a:endParaRPr lang="en-US" altLang="ja-JP"/>
          </a:p>
          <a:p>
            <a:pPr lvl="1"/>
            <a:endParaRPr kumimoji="1" lang="ja-JP" altLang="en-US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A9DB928B-A300-4CD2-AF42-BBC9D0B4B4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4248" y="3075806"/>
            <a:ext cx="2270820" cy="1741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6296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Title 121">
            <a:extLst>
              <a:ext uri="{FF2B5EF4-FFF2-40B4-BE49-F238E27FC236}">
                <a16:creationId xmlns:a16="http://schemas.microsoft.com/office/drawing/2014/main" id="{9119C81C-8A7E-404F-B6E6-EF4AE127DA9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ja-JP" altLang="en-US">
                <a:ea typeface="Meiryo UI" panose="020B0604030504040204" pitchFamily="34" charset="-128"/>
                <a:cs typeface="MS UI Gothic"/>
              </a:rPr>
              <a:t>セルフ サービスとガバナンス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D8516C-DC90-4690-974D-3CC00EF9A307}"/>
              </a:ext>
            </a:extLst>
          </p:cNvPr>
          <p:cNvSpPr>
            <a:spLocks noGrp="1"/>
          </p:cNvSpPr>
          <p:nvPr>
            <p:ph sz="quarter" idx="4294967295"/>
            <p:custDataLst>
              <p:tags r:id="rId3"/>
            </p:custDataLst>
          </p:nvPr>
        </p:nvSpPr>
        <p:spPr>
          <a:xfrm>
            <a:off x="367077" y="999654"/>
            <a:ext cx="4355768" cy="3314700"/>
          </a:xfrm>
          <a:prstGeom prst="rect">
            <a:avLst/>
          </a:prstGeom>
        </p:spPr>
        <p:txBody>
          <a:bodyPr/>
          <a:lstStyle/>
          <a:p>
            <a:pPr fontAlgn="base">
              <a:defRPr/>
            </a:pPr>
            <a:r>
              <a:rPr lang="en-US" altLang="ja-JP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DB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管理者が自由にバックアップ・リストア運用を可能とする</a:t>
            </a:r>
            <a:endParaRPr lang="en-US" altLang="ja-JP" sz="1800" dirty="0">
              <a:solidFill>
                <a:schemeClr val="tx2"/>
              </a:solidFill>
              <a:latin typeface="Arial" panose="020B0604020202020204" pitchFamily="34" charset="0"/>
              <a:ea typeface="Meiryo UI" panose="020B0604030504040204" pitchFamily="34" charset="-128"/>
              <a:cs typeface="MS UI Gothic"/>
            </a:endParaRPr>
          </a:p>
          <a:p>
            <a:pPr fontAlgn="base">
              <a:defRPr/>
            </a:pP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バックアップ管理者がスケジュール運用も可能</a:t>
            </a:r>
          </a:p>
          <a:p>
            <a:pPr fontAlgn="base">
              <a:defRPr/>
            </a:pP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ネイティブ アプリケーションからの直接のバックアップ</a:t>
            </a:r>
            <a:r>
              <a:rPr lang="en-US" altLang="ja-JP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/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リカバリー</a:t>
            </a:r>
          </a:p>
          <a:p>
            <a:pPr fontAlgn="base">
              <a:defRPr/>
            </a:pP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自動検出とプロビジョニング</a:t>
            </a:r>
          </a:p>
          <a:p>
            <a:pPr fontAlgn="base">
              <a:defRPr/>
            </a:pPr>
            <a:r>
              <a:rPr lang="en-US" altLang="ja-JP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IT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運用の監視とガバナンスの制御</a:t>
            </a:r>
            <a:endParaRPr lang="en-US" altLang="ja-JP" sz="1800" dirty="0">
              <a:solidFill>
                <a:schemeClr val="tx2"/>
              </a:solidFill>
              <a:latin typeface="Arial" panose="020B0604020202020204" pitchFamily="34" charset="0"/>
              <a:ea typeface="Meiryo UI" panose="020B0604030504040204" pitchFamily="34" charset="-128"/>
              <a:cs typeface="MS UI Gothic"/>
            </a:endParaRPr>
          </a:p>
          <a:p>
            <a:pPr fontAlgn="base">
              <a:defRPr/>
            </a:pPr>
            <a:r>
              <a:rPr lang="en-US" altLang="ja-JP" sz="1800" dirty="0" err="1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DataDomain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の</a:t>
            </a:r>
            <a:r>
              <a:rPr lang="en-US" altLang="ja-JP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Retention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 </a:t>
            </a:r>
            <a:r>
              <a:rPr lang="en-US" altLang="ja-JP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Lock</a:t>
            </a:r>
            <a:r>
              <a:rPr lang="ja-JP" altLang="en-US" sz="18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機能連携</a:t>
            </a:r>
            <a:endParaRPr lang="en-US" altLang="ja-JP" sz="1800" dirty="0">
              <a:solidFill>
                <a:schemeClr val="tx2"/>
              </a:solidFill>
              <a:latin typeface="Arial" panose="020B0604020202020204" pitchFamily="34" charset="0"/>
              <a:ea typeface="Meiryo UI" panose="020B0604030504040204" pitchFamily="34" charset="-128"/>
              <a:cs typeface="MS UI Gothic"/>
            </a:endParaRPr>
          </a:p>
          <a:p>
            <a:pPr lvl="1" fontAlgn="base">
              <a:defRPr/>
            </a:pPr>
            <a:r>
              <a:rPr lang="ja-JP" altLang="en-US" sz="1500" dirty="0">
                <a:solidFill>
                  <a:schemeClr val="tx2"/>
                </a:solidFill>
                <a:latin typeface="Arial" panose="020B0604020202020204" pitchFamily="34" charset="0"/>
                <a:ea typeface="Meiryo UI" panose="020B0604030504040204" pitchFamily="34" charset="-128"/>
                <a:cs typeface="MS UI Gothic"/>
              </a:rPr>
              <a:t>標準機能</a:t>
            </a:r>
          </a:p>
          <a:p>
            <a:endParaRPr lang="ja-JP" altLang="en-US" sz="1800" dirty="0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A5087F-D486-468E-B912-C11ABEBA356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15466" y="832708"/>
            <a:ext cx="480953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buClr>
                <a:schemeClr val="tx2"/>
              </a:buClr>
              <a:defRPr/>
            </a:pPr>
            <a:endParaRPr lang="en-US" sz="2000"/>
          </a:p>
        </p:txBody>
      </p:sp>
      <p:cxnSp>
        <p:nvCxnSpPr>
          <p:cNvPr id="123" name="Elbow Connector 121">
            <a:extLst>
              <a:ext uri="{FF2B5EF4-FFF2-40B4-BE49-F238E27FC236}">
                <a16:creationId xmlns:a16="http://schemas.microsoft.com/office/drawing/2014/main" id="{64797B4D-5ECB-4056-8A6E-08B13AB64EE8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 rot="16200000" flipV="1">
            <a:off x="7932303" y="1403329"/>
            <a:ext cx="142394" cy="792436"/>
          </a:xfrm>
          <a:prstGeom prst="bentConnector2">
            <a:avLst/>
          </a:prstGeom>
          <a:ln w="12700" cmpd="sng"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5" name="Oval 124">
            <a:extLst>
              <a:ext uri="{FF2B5EF4-FFF2-40B4-BE49-F238E27FC236}">
                <a16:creationId xmlns:a16="http://schemas.microsoft.com/office/drawing/2014/main" id="{87BB48C8-255C-4EF5-8751-1975B856665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5142141" y="3806134"/>
            <a:ext cx="2822319" cy="453448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1739F5B-F0A6-41EE-AB6E-EFD790E2D65C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 flipH="1" flipV="1">
            <a:off x="6032896" y="1724380"/>
            <a:ext cx="321860" cy="718"/>
          </a:xfrm>
          <a:prstGeom prst="line">
            <a:avLst/>
          </a:prstGeom>
          <a:solidFill>
            <a:schemeClr val="accent5">
              <a:lumMod val="20000"/>
              <a:lumOff val="80000"/>
            </a:schemeClr>
          </a:solidFill>
          <a:ln w="12700" cmpd="sng">
            <a:solidFill>
              <a:schemeClr val="bg2"/>
            </a:solidFill>
          </a:ln>
          <a:effectLst/>
        </p:spPr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E7675F9-1B56-4045-8D5A-6E22B83CB6F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277069" y="1547948"/>
            <a:ext cx="238601" cy="171735"/>
          </a:xfrm>
          <a:prstGeom prst="rect">
            <a:avLst/>
          </a:prstGeom>
          <a:noFill/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83B0743-CFC6-493C-9750-EC887833F8D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7277069" y="1751745"/>
            <a:ext cx="238601" cy="171735"/>
          </a:xfrm>
          <a:prstGeom prst="rect">
            <a:avLst/>
          </a:prstGeom>
          <a:noFill/>
          <a:ln w="12700" cmpd="sng">
            <a:noFill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30" name="Title 263">
            <a:extLst>
              <a:ext uri="{FF2B5EF4-FFF2-40B4-BE49-F238E27FC236}">
                <a16:creationId xmlns:a16="http://schemas.microsoft.com/office/drawing/2014/main" id="{0ACC0F08-2296-4694-8A8D-1CA6E0B0136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749659" y="2320594"/>
            <a:ext cx="1431829" cy="336411"/>
          </a:xfrm>
          <a:prstGeom prst="rect">
            <a:avLst/>
          </a:prstGeom>
        </p:spPr>
        <p:txBody>
          <a:bodyPr lIns="0" r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altLang="ja-JP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IT</a:t>
            </a:r>
            <a:r>
              <a:rPr lang="ja-JP" altLang="en-US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部門</a:t>
            </a:r>
            <a:endParaRPr lang="en-US" altLang="ja-JP" sz="1200">
              <a:solidFill>
                <a:schemeClr val="tx2"/>
              </a:solidFill>
              <a:ea typeface="Meiryo UI" panose="020B0604030504040204" pitchFamily="34" charset="-128"/>
              <a:cs typeface="MS UI Gothic"/>
            </a:endParaRPr>
          </a:p>
          <a:p>
            <a:pPr algn="ctr"/>
            <a:r>
              <a:rPr lang="ja-JP" altLang="en-US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（バックアップ管理者）</a:t>
            </a:r>
          </a:p>
        </p:txBody>
      </p:sp>
      <p:sp>
        <p:nvSpPr>
          <p:cNvPr id="131" name="Title 263">
            <a:extLst>
              <a:ext uri="{FF2B5EF4-FFF2-40B4-BE49-F238E27FC236}">
                <a16:creationId xmlns:a16="http://schemas.microsoft.com/office/drawing/2014/main" id="{37E0D544-C156-4FD3-A371-4B389804082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954208" y="1802691"/>
            <a:ext cx="1431829" cy="336411"/>
          </a:xfrm>
          <a:prstGeom prst="rect">
            <a:avLst/>
          </a:prstGeom>
        </p:spPr>
        <p:txBody>
          <a:bodyPr lIns="0" r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ja-JP" altLang="en-US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データ所有者</a:t>
            </a:r>
            <a:endParaRPr lang="en-US" altLang="ja-JP" sz="1200">
              <a:solidFill>
                <a:schemeClr val="tx2"/>
              </a:solidFill>
              <a:ea typeface="Meiryo UI" panose="020B0604030504040204" pitchFamily="34" charset="-128"/>
              <a:cs typeface="MS UI Gothic"/>
            </a:endParaRPr>
          </a:p>
          <a:p>
            <a:pPr algn="ctr"/>
            <a:r>
              <a:rPr lang="ja-JP" altLang="en-US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（</a:t>
            </a:r>
            <a:r>
              <a:rPr lang="en-US" altLang="ja-JP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DB</a:t>
            </a:r>
            <a:r>
              <a:rPr lang="ja-JP" altLang="en-US" sz="1200">
                <a:solidFill>
                  <a:schemeClr val="tx2"/>
                </a:solidFill>
                <a:ea typeface="Meiryo UI" panose="020B0604030504040204" pitchFamily="34" charset="-128"/>
                <a:cs typeface="MS UI Gothic"/>
              </a:rPr>
              <a:t>管理者）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AC0849B-51D8-4417-83DA-96728A8C9FF2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5421461" y="2442680"/>
            <a:ext cx="2268047" cy="1825318"/>
            <a:chOff x="-2742929" y="844999"/>
            <a:chExt cx="6057358" cy="4874944"/>
          </a:xfrm>
        </p:grpSpPr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515375B8-CE8C-4317-A5AE-F88D60EA3391}"/>
                </a:ext>
              </a:extLst>
            </p:cNvPr>
            <p:cNvPicPr>
              <a:picLocks noChangeAspect="1"/>
            </p:cNvPicPr>
            <p:nvPr>
              <p:custDataLst>
                <p:tags r:id="rId26"/>
              </p:custDataLst>
            </p:nvPr>
          </p:nvPicPr>
          <p:blipFill>
            <a:blip r:embed="rId30"/>
            <a:srcRect l="15393" r="14714"/>
            <a:stretch>
              <a:fillRect/>
            </a:stretch>
          </p:blipFill>
          <p:spPr>
            <a:xfrm>
              <a:off x="-2742929" y="844999"/>
              <a:ext cx="6057358" cy="4874944"/>
            </a:xfrm>
            <a:prstGeom prst="rect">
              <a:avLst/>
            </a:prstGeom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36AA5E05-D1CF-493B-B800-3B01F19BFD38}"/>
                </a:ext>
              </a:extLst>
            </p:cNvPr>
            <p:cNvPicPr>
              <a:picLocks noChangeAspect="1"/>
            </p:cNvPicPr>
            <p:nvPr>
              <p:custDataLst>
                <p:tags r:id="rId27"/>
              </p:custDataLst>
            </p:nvPr>
          </p:nvPicPr>
          <p:blipFill>
            <a:blip r:embed="rId31"/>
            <a:srcRect l="211" r="21018" b="7144"/>
            <a:stretch>
              <a:fillRect/>
            </a:stretch>
          </p:blipFill>
          <p:spPr>
            <a:xfrm>
              <a:off x="-2411295" y="1029017"/>
              <a:ext cx="5363092" cy="3022199"/>
            </a:xfrm>
            <a:prstGeom prst="rect">
              <a:avLst/>
            </a:prstGeom>
          </p:spPr>
        </p:pic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0BEE34C6-8C5D-496B-BAD3-D9A0F47E509A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2">
            <a:lum bright="70000" contrast="-70000"/>
          </a:blip>
          <a:stretch>
            <a:fillRect/>
          </a:stretch>
        </p:blipFill>
        <p:spPr>
          <a:xfrm>
            <a:off x="6337004" y="1515744"/>
            <a:ext cx="445527" cy="445527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BDAB620A-7C78-4BAF-9079-8FCD96B63A4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3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35686" y="1371646"/>
            <a:ext cx="445527" cy="445527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0D8E3B93-8166-4955-A722-F0631DB9D123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2">
            <a:lum bright="70000" contrast="-70000"/>
          </a:blip>
          <a:stretch>
            <a:fillRect/>
          </a:stretch>
        </p:blipFill>
        <p:spPr>
          <a:xfrm>
            <a:off x="6724269" y="1515744"/>
            <a:ext cx="445527" cy="445527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0DAF4941-6591-411B-B814-AD2A1824A739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2">
            <a:lum bright="70000" contrast="-70000"/>
          </a:blip>
          <a:stretch>
            <a:fillRect/>
          </a:stretch>
        </p:blipFill>
        <p:spPr>
          <a:xfrm>
            <a:off x="7093074" y="1510399"/>
            <a:ext cx="445527" cy="445527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CAC53459-12E7-41EC-82BE-17B22D55D6DA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06533" y="1881308"/>
            <a:ext cx="445527" cy="445527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032426C9-B118-48E9-81F5-77466B76C022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92036" y="2831550"/>
            <a:ext cx="402648" cy="402648"/>
          </a:xfrm>
          <a:prstGeom prst="rect">
            <a:avLst/>
          </a:prstGeom>
        </p:spPr>
      </p:pic>
      <p:cxnSp>
        <p:nvCxnSpPr>
          <p:cNvPr id="145" name="Connector: Elbow 144">
            <a:extLst>
              <a:ext uri="{FF2B5EF4-FFF2-40B4-BE49-F238E27FC236}">
                <a16:creationId xmlns:a16="http://schemas.microsoft.com/office/drawing/2014/main" id="{2B236822-AECB-46FB-838C-563E2596FF10}"/>
              </a:ext>
            </a:extLst>
          </p:cNvPr>
          <p:cNvCxnSpPr>
            <a:stCxn id="130" idx="2"/>
            <a:endCxn id="144" idx="3"/>
          </p:cNvCxnSpPr>
          <p:nvPr>
            <p:custDataLst>
              <p:tags r:id="rId19"/>
            </p:custDataLst>
          </p:nvPr>
        </p:nvCxnSpPr>
        <p:spPr>
          <a:xfrm rot="5400000">
            <a:off x="8192195" y="2759494"/>
            <a:ext cx="375869" cy="170890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4D025E1D-FA78-4D4B-A0FC-13F2B3F71C28}"/>
              </a:ext>
            </a:extLst>
          </p:cNvPr>
          <p:cNvCxnSpPr>
            <a:stCxn id="144" idx="1"/>
          </p:cNvCxnSpPr>
          <p:nvPr>
            <p:custDataLst>
              <p:tags r:id="rId20"/>
            </p:custDataLst>
          </p:nvPr>
        </p:nvCxnSpPr>
        <p:spPr>
          <a:xfrm flipH="1">
            <a:off x="7607282" y="3032874"/>
            <a:ext cx="284754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146">
            <a:extLst>
              <a:ext uri="{FF2B5EF4-FFF2-40B4-BE49-F238E27FC236}">
                <a16:creationId xmlns:a16="http://schemas.microsoft.com/office/drawing/2014/main" id="{7F8816AC-4BD3-4E69-ADA5-68AD8AA192AD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70681" y="1277800"/>
            <a:ext cx="445527" cy="445527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A14DA97B-1E4B-4FE2-ADAF-B5720E6D3080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36">
            <a:lum bright="70000" contrast="-70000"/>
          </a:blip>
          <a:stretch>
            <a:fillRect/>
          </a:stretch>
        </p:blipFill>
        <p:spPr>
          <a:xfrm>
            <a:off x="6947032" y="2009828"/>
            <a:ext cx="414772" cy="349943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D1FA31DC-3D33-48AF-BA75-4CF9ADD6B494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36">
            <a:lum bright="70000" contrast="-70000"/>
          </a:blip>
          <a:stretch>
            <a:fillRect/>
          </a:stretch>
        </p:blipFill>
        <p:spPr>
          <a:xfrm>
            <a:off x="6481710" y="2009827"/>
            <a:ext cx="414772" cy="349943"/>
          </a:xfrm>
          <a:prstGeom prst="rect">
            <a:avLst/>
          </a:prstGeom>
        </p:spPr>
      </p:pic>
      <p:pic>
        <p:nvPicPr>
          <p:cNvPr id="31" name="il_fi" descr="http://alumni.media.mit.edu/~emunguia/images/OracleLogo.jpg">
            <a:extLst>
              <a:ext uri="{FF2B5EF4-FFF2-40B4-BE49-F238E27FC236}">
                <a16:creationId xmlns:a16="http://schemas.microsoft.com/office/drawing/2014/main" id="{6C3A7BD4-1216-40C4-BF0B-7EAEF996526D}"/>
              </a:ext>
            </a:extLst>
          </p:cNvPr>
          <p:cNvPicPr preferRelativeResize="0">
            <a:picLocks noChangeAspect="1"/>
          </p:cNvPicPr>
          <p:nvPr>
            <p:custDataLst>
              <p:tags r:id="rId24"/>
            </p:custDataLst>
          </p:nvPr>
        </p:nvPicPr>
        <p:blipFill>
          <a:blip r:embed="rId37">
            <a:biLevel thresh="50000"/>
          </a:blip>
          <a:stretch>
            <a:fillRect/>
          </a:stretch>
        </p:blipFill>
        <p:spPr bwMode="auto">
          <a:xfrm>
            <a:off x="6381673" y="1337913"/>
            <a:ext cx="511623" cy="123578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32" name="Picture 6" descr="Image result for Microsoft SQL">
            <a:extLst>
              <a:ext uri="{FF2B5EF4-FFF2-40B4-BE49-F238E27FC236}">
                <a16:creationId xmlns:a16="http://schemas.microsoft.com/office/drawing/2014/main" id="{162088BC-F879-411D-8D12-6ECE9639BCD7}"/>
              </a:ext>
            </a:extLst>
          </p:cNvPr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3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6080" r="-3259" b="35863"/>
          <a:stretch>
            <a:fillRect/>
          </a:stretch>
        </p:blipFill>
        <p:spPr bwMode="auto">
          <a:xfrm>
            <a:off x="6989610" y="1310164"/>
            <a:ext cx="550526" cy="15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46731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AAD75F9-84C3-4390-A343-21AE9DF15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SLA Compliance</a:t>
            </a:r>
            <a:r>
              <a:rPr kumimoji="1" lang="ja-JP" altLang="en-US"/>
              <a:t>機能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49D30192-F242-4871-8848-A8AB23DB9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861339"/>
            <a:ext cx="3771466" cy="3420822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8294DAC6-02C6-47E2-A191-4CF71733505F}"/>
              </a:ext>
            </a:extLst>
          </p:cNvPr>
          <p:cNvSpPr txBox="1"/>
          <p:nvPr/>
        </p:nvSpPr>
        <p:spPr>
          <a:xfrm>
            <a:off x="3995936" y="771550"/>
            <a:ext cx="4752528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en-US" altLang="ja-JP" sz="1800">
                <a:solidFill>
                  <a:schemeClr val="tx2"/>
                </a:solidFill>
              </a:rPr>
              <a:t>SLA (Service Level Agreement)</a:t>
            </a:r>
            <a:r>
              <a:rPr kumimoji="1" lang="ja-JP" altLang="en-US" sz="1800">
                <a:solidFill>
                  <a:schemeClr val="tx2"/>
                </a:solidFill>
              </a:rPr>
              <a:t>に沿ったルールを設定できます。</a:t>
            </a:r>
            <a:endParaRPr kumimoji="1" lang="en-US" altLang="ja-JP" sz="1800">
              <a:solidFill>
                <a:schemeClr val="tx2"/>
              </a:solidFill>
            </a:endParaRPr>
          </a:p>
          <a:p>
            <a:r>
              <a:rPr kumimoji="1" lang="en-US" altLang="ja-JP" sz="1800">
                <a:solidFill>
                  <a:schemeClr val="tx2"/>
                </a:solidFill>
              </a:rPr>
              <a:t>Protection</a:t>
            </a:r>
            <a:r>
              <a:rPr kumimoji="1" lang="ja-JP" altLang="en-US" sz="1800">
                <a:solidFill>
                  <a:schemeClr val="tx2"/>
                </a:solidFill>
              </a:rPr>
              <a:t> </a:t>
            </a:r>
            <a:r>
              <a:rPr kumimoji="1" lang="en-US" altLang="ja-JP" sz="1800">
                <a:solidFill>
                  <a:schemeClr val="tx2"/>
                </a:solidFill>
              </a:rPr>
              <a:t>Policy</a:t>
            </a:r>
            <a:r>
              <a:rPr kumimoji="1" lang="ja-JP" altLang="en-US" sz="1800">
                <a:solidFill>
                  <a:schemeClr val="tx2"/>
                </a:solidFill>
              </a:rPr>
              <a:t>、</a:t>
            </a:r>
            <a:r>
              <a:rPr kumimoji="1" lang="en-US" altLang="ja-JP" sz="1800">
                <a:solidFill>
                  <a:schemeClr val="tx2"/>
                </a:solidFill>
              </a:rPr>
              <a:t>Backup</a:t>
            </a:r>
            <a:r>
              <a:rPr kumimoji="1" lang="ja-JP" altLang="en-US" sz="1800">
                <a:solidFill>
                  <a:schemeClr val="tx2"/>
                </a:solidFill>
              </a:rPr>
              <a:t>、</a:t>
            </a:r>
            <a:r>
              <a:rPr kumimoji="1" lang="en-US" altLang="ja-JP" sz="1800">
                <a:solidFill>
                  <a:schemeClr val="tx2"/>
                </a:solidFill>
              </a:rPr>
              <a:t>Promotion(</a:t>
            </a:r>
            <a:r>
              <a:rPr kumimoji="1" lang="ja-JP" altLang="en-US" sz="1800">
                <a:solidFill>
                  <a:schemeClr val="tx2"/>
                </a:solidFill>
              </a:rPr>
              <a:t>週時のバックアップは</a:t>
            </a:r>
            <a:r>
              <a:rPr kumimoji="1" lang="en-US" altLang="ja-JP" sz="1800">
                <a:solidFill>
                  <a:schemeClr val="tx2"/>
                </a:solidFill>
              </a:rPr>
              <a:t>1</a:t>
            </a:r>
            <a:r>
              <a:rPr kumimoji="1" lang="ja-JP" altLang="en-US" sz="1800">
                <a:solidFill>
                  <a:schemeClr val="tx2"/>
                </a:solidFill>
              </a:rPr>
              <a:t>カ月保持などのルール</a:t>
            </a:r>
            <a:r>
              <a:rPr kumimoji="1" lang="en-US" altLang="ja-JP" sz="1800">
                <a:solidFill>
                  <a:schemeClr val="tx2"/>
                </a:solidFill>
              </a:rPr>
              <a:t>)</a:t>
            </a:r>
            <a:r>
              <a:rPr kumimoji="1" lang="ja-JP" altLang="en-US" sz="1800">
                <a:solidFill>
                  <a:schemeClr val="tx2"/>
                </a:solidFill>
              </a:rPr>
              <a:t>、</a:t>
            </a:r>
            <a:r>
              <a:rPr kumimoji="1" lang="en-US" altLang="ja-JP" sz="1800">
                <a:solidFill>
                  <a:schemeClr val="tx2"/>
                </a:solidFill>
              </a:rPr>
              <a:t>Replication</a:t>
            </a:r>
            <a:r>
              <a:rPr kumimoji="1" lang="ja-JP" altLang="en-US" sz="1800">
                <a:solidFill>
                  <a:schemeClr val="tx2"/>
                </a:solidFill>
              </a:rPr>
              <a:t>、</a:t>
            </a:r>
            <a:r>
              <a:rPr kumimoji="1" lang="en-US" altLang="ja-JP" sz="1800">
                <a:solidFill>
                  <a:schemeClr val="tx2"/>
                </a:solidFill>
              </a:rPr>
              <a:t>Cloud</a:t>
            </a:r>
            <a:r>
              <a:rPr kumimoji="1" lang="ja-JP" altLang="en-US" sz="1800">
                <a:solidFill>
                  <a:schemeClr val="tx2"/>
                </a:solidFill>
              </a:rPr>
              <a:t> </a:t>
            </a:r>
            <a:r>
              <a:rPr kumimoji="1" lang="en-US" altLang="ja-JP" sz="1800">
                <a:solidFill>
                  <a:schemeClr val="tx2"/>
                </a:solidFill>
              </a:rPr>
              <a:t>Tier</a:t>
            </a:r>
            <a:r>
              <a:rPr kumimoji="1" lang="ja-JP" altLang="en-US" sz="1800">
                <a:solidFill>
                  <a:schemeClr val="tx2"/>
                </a:solidFill>
              </a:rPr>
              <a:t>に対して</a:t>
            </a:r>
            <a:r>
              <a:rPr kumimoji="1" lang="en-US" altLang="ja-JP" sz="1800">
                <a:solidFill>
                  <a:schemeClr val="tx2"/>
                </a:solidFill>
              </a:rPr>
              <a:t>RPO</a:t>
            </a:r>
            <a:r>
              <a:rPr kumimoji="1" lang="ja-JP" altLang="en-US" sz="1800">
                <a:solidFill>
                  <a:schemeClr val="tx2"/>
                </a:solidFill>
              </a:rPr>
              <a:t>や保持すべき</a:t>
            </a:r>
            <a:r>
              <a:rPr kumimoji="1" lang="en-US" altLang="ja-JP" sz="1800">
                <a:solidFill>
                  <a:schemeClr val="tx2"/>
                </a:solidFill>
              </a:rPr>
              <a:t>Backup</a:t>
            </a:r>
            <a:r>
              <a:rPr kumimoji="1" lang="ja-JP" altLang="en-US" sz="1800">
                <a:solidFill>
                  <a:schemeClr val="tx2"/>
                </a:solidFill>
              </a:rPr>
              <a:t>の世代数などのサービスレベル目標</a:t>
            </a:r>
            <a:r>
              <a:rPr kumimoji="1" lang="en-US" altLang="ja-JP" sz="1800">
                <a:solidFill>
                  <a:schemeClr val="tx2"/>
                </a:solidFill>
              </a:rPr>
              <a:t>(SLO)</a:t>
            </a:r>
            <a:r>
              <a:rPr kumimoji="1" lang="ja-JP" altLang="en-US" sz="1800">
                <a:solidFill>
                  <a:schemeClr val="tx2"/>
                </a:solidFill>
              </a:rPr>
              <a:t>を設定し、</a:t>
            </a:r>
            <a:r>
              <a:rPr kumimoji="1" lang="en-US" altLang="ja-JP" sz="1800">
                <a:solidFill>
                  <a:schemeClr val="tx2"/>
                </a:solidFill>
              </a:rPr>
              <a:t>SLO</a:t>
            </a:r>
            <a:r>
              <a:rPr kumimoji="1" lang="ja-JP" altLang="en-US" sz="1800">
                <a:solidFill>
                  <a:schemeClr val="tx2"/>
                </a:solidFill>
              </a:rPr>
              <a:t>を満たせない場合管理者へ</a:t>
            </a:r>
            <a:r>
              <a:rPr kumimoji="1" lang="en-US" altLang="ja-JP" sz="1800">
                <a:solidFill>
                  <a:schemeClr val="tx2"/>
                </a:solidFill>
              </a:rPr>
              <a:t>Alert</a:t>
            </a:r>
            <a:r>
              <a:rPr kumimoji="1" lang="ja-JP" altLang="en-US" sz="1800">
                <a:solidFill>
                  <a:schemeClr val="tx2"/>
                </a:solidFill>
              </a:rPr>
              <a:t>通知を行います。</a:t>
            </a:r>
          </a:p>
        </p:txBody>
      </p:sp>
    </p:spTree>
    <p:extLst>
      <p:ext uri="{BB962C8B-B14F-4D97-AF65-F5344CB8AC3E}">
        <p14:creationId xmlns:p14="http://schemas.microsoft.com/office/powerpoint/2010/main" val="39939011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2AC6F23-EB75-4681-ACCA-92623B789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Protection</a:t>
            </a:r>
            <a:r>
              <a:rPr kumimoji="1" lang="ja-JP" altLang="en-US"/>
              <a:t> </a:t>
            </a:r>
            <a:r>
              <a:rPr kumimoji="1" lang="en-US" altLang="ja-JP"/>
              <a:t>Rule</a:t>
            </a:r>
            <a:r>
              <a:rPr kumimoji="1" lang="ja-JP" altLang="en-US"/>
              <a:t>機能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AA4A3BDA-08AE-4F47-89D6-98CB95C570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699543"/>
            <a:ext cx="5222354" cy="2215788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47EAC55-3DFD-45EB-BD31-DC98961999E0}"/>
              </a:ext>
            </a:extLst>
          </p:cNvPr>
          <p:cNvSpPr txBox="1"/>
          <p:nvPr/>
        </p:nvSpPr>
        <p:spPr>
          <a:xfrm>
            <a:off x="285750" y="3075806"/>
            <a:ext cx="860673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en-US" altLang="ja-JP" sz="1800">
                <a:solidFill>
                  <a:schemeClr val="tx2"/>
                </a:solidFill>
              </a:rPr>
              <a:t>VM</a:t>
            </a:r>
            <a:r>
              <a:rPr kumimoji="1" lang="ja-JP" altLang="en-US" sz="1800">
                <a:solidFill>
                  <a:schemeClr val="tx2"/>
                </a:solidFill>
              </a:rPr>
              <a:t>、</a:t>
            </a:r>
            <a:r>
              <a:rPr kumimoji="1" lang="en-US" altLang="ja-JP" sz="1800">
                <a:solidFill>
                  <a:schemeClr val="tx2"/>
                </a:solidFill>
              </a:rPr>
              <a:t>k8s </a:t>
            </a:r>
            <a:r>
              <a:rPr kumimoji="1" lang="en-US" altLang="ja-JP" sz="1800" err="1">
                <a:solidFill>
                  <a:schemeClr val="tx2"/>
                </a:solidFill>
              </a:rPr>
              <a:t>NameSpace</a:t>
            </a:r>
            <a:r>
              <a:rPr kumimoji="1" lang="ja-JP" altLang="en-US" sz="1800">
                <a:solidFill>
                  <a:schemeClr val="tx2"/>
                </a:solidFill>
              </a:rPr>
              <a:t>、エージェント等のアセットを</a:t>
            </a:r>
            <a:r>
              <a:rPr kumimoji="1" lang="en-US" altLang="ja-JP" sz="1800">
                <a:solidFill>
                  <a:schemeClr val="tx2"/>
                </a:solidFill>
              </a:rPr>
              <a:t>VM</a:t>
            </a:r>
            <a:r>
              <a:rPr kumimoji="1" lang="ja-JP" altLang="en-US" sz="1800">
                <a:solidFill>
                  <a:schemeClr val="tx2"/>
                </a:solidFill>
              </a:rPr>
              <a:t>名や、設定された</a:t>
            </a:r>
            <a:r>
              <a:rPr kumimoji="1" lang="en-US" altLang="ja-JP" sz="1800">
                <a:solidFill>
                  <a:schemeClr val="tx2"/>
                </a:solidFill>
              </a:rPr>
              <a:t>Tag</a:t>
            </a:r>
            <a:r>
              <a:rPr kumimoji="1" lang="ja-JP" altLang="en-US" sz="1800">
                <a:solidFill>
                  <a:schemeClr val="tx2"/>
                </a:solidFill>
              </a:rPr>
              <a:t>情報などにより自動的に適切な</a:t>
            </a:r>
            <a:r>
              <a:rPr kumimoji="1" lang="en-US" altLang="ja-JP" sz="1800">
                <a:solidFill>
                  <a:schemeClr val="tx2"/>
                </a:solidFill>
              </a:rPr>
              <a:t>Protection</a:t>
            </a:r>
            <a:r>
              <a:rPr kumimoji="1" lang="ja-JP" altLang="en-US" sz="1800">
                <a:solidFill>
                  <a:schemeClr val="tx2"/>
                </a:solidFill>
              </a:rPr>
              <a:t> </a:t>
            </a:r>
            <a:r>
              <a:rPr kumimoji="1" lang="en-US" altLang="ja-JP" sz="1800">
                <a:solidFill>
                  <a:schemeClr val="tx2"/>
                </a:solidFill>
              </a:rPr>
              <a:t>Policy</a:t>
            </a:r>
            <a:r>
              <a:rPr kumimoji="1" lang="ja-JP" altLang="en-US" sz="1800">
                <a:solidFill>
                  <a:schemeClr val="tx2"/>
                </a:solidFill>
              </a:rPr>
              <a:t>に登録する機能。</a:t>
            </a:r>
            <a:endParaRPr kumimoji="1" lang="en-US" altLang="ja-JP" sz="1800">
              <a:solidFill>
                <a:schemeClr val="tx2"/>
              </a:solidFill>
            </a:endParaRPr>
          </a:p>
          <a:p>
            <a:r>
              <a:rPr kumimoji="1" lang="ja-JP" altLang="en-US" sz="1800">
                <a:solidFill>
                  <a:schemeClr val="tx2"/>
                </a:solidFill>
              </a:rPr>
              <a:t>これにより</a:t>
            </a:r>
            <a:r>
              <a:rPr kumimoji="1" lang="en-US" altLang="ja-JP" sz="1800">
                <a:solidFill>
                  <a:schemeClr val="tx2"/>
                </a:solidFill>
              </a:rPr>
              <a:t>VM</a:t>
            </a:r>
            <a:r>
              <a:rPr kumimoji="1" lang="ja-JP" altLang="en-US" sz="1800">
                <a:solidFill>
                  <a:schemeClr val="tx2"/>
                </a:solidFill>
              </a:rPr>
              <a:t>や</a:t>
            </a:r>
            <a:r>
              <a:rPr kumimoji="1" lang="en-US" altLang="ja-JP" sz="1800">
                <a:solidFill>
                  <a:schemeClr val="tx2"/>
                </a:solidFill>
              </a:rPr>
              <a:t>k8s Name Space</a:t>
            </a:r>
            <a:r>
              <a:rPr kumimoji="1" lang="ja-JP" altLang="en-US" sz="1800">
                <a:solidFill>
                  <a:schemeClr val="tx2"/>
                </a:solidFill>
              </a:rPr>
              <a:t>の作成時に</a:t>
            </a:r>
            <a:r>
              <a:rPr kumimoji="1" lang="en-US" altLang="ja-JP" sz="1800">
                <a:solidFill>
                  <a:schemeClr val="tx2"/>
                </a:solidFill>
              </a:rPr>
              <a:t>Tag</a:t>
            </a:r>
            <a:r>
              <a:rPr kumimoji="1" lang="ja-JP" altLang="en-US" sz="1800">
                <a:solidFill>
                  <a:schemeClr val="tx2"/>
                </a:solidFill>
              </a:rPr>
              <a:t>の付加等を行っておけば、適切なバックアップスケジュール、</a:t>
            </a:r>
            <a:r>
              <a:rPr kumimoji="1" lang="en-US" altLang="ja-JP" sz="1800">
                <a:solidFill>
                  <a:schemeClr val="tx2"/>
                </a:solidFill>
              </a:rPr>
              <a:t>SLA</a:t>
            </a:r>
            <a:r>
              <a:rPr kumimoji="1" lang="ja-JP" altLang="en-US" sz="1800">
                <a:solidFill>
                  <a:schemeClr val="tx2"/>
                </a:solidFill>
              </a:rPr>
              <a:t>が自動的に設定されます。</a:t>
            </a:r>
            <a:endParaRPr kumimoji="1" lang="en-US" altLang="ja-JP" sz="1800">
              <a:solidFill>
                <a:schemeClr val="tx2"/>
              </a:solidFill>
            </a:endParaRPr>
          </a:p>
          <a:p>
            <a:endParaRPr kumimoji="1" lang="ja-JP" alt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5863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Left-Right 4">
            <a:extLst>
              <a:ext uri="{FF2B5EF4-FFF2-40B4-BE49-F238E27FC236}">
                <a16:creationId xmlns:a16="http://schemas.microsoft.com/office/drawing/2014/main" id="{3FB8558F-80F7-41E8-B187-704EADC93508}"/>
              </a:ext>
            </a:extLst>
          </p:cNvPr>
          <p:cNvSpPr/>
          <p:nvPr/>
        </p:nvSpPr>
        <p:spPr>
          <a:xfrm>
            <a:off x="1984498" y="2095227"/>
            <a:ext cx="1618672" cy="523819"/>
          </a:xfrm>
          <a:prstGeom prst="leftRightArrow">
            <a:avLst/>
          </a:prstGeom>
          <a:solidFill>
            <a:schemeClr val="bg1">
              <a:lumMod val="40000"/>
              <a:lumOff val="60000"/>
              <a:alpha val="3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bg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113F74-E01E-4061-B8A8-9B7E22067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98571"/>
          </a:xfrm>
        </p:spPr>
        <p:txBody>
          <a:bodyPr/>
          <a:lstStyle/>
          <a:p>
            <a:r>
              <a:rPr lang="ja-JP" altLang="en-US"/>
              <a:t>マルチクラウドへの拡張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7DDE72-6B58-4B1D-A406-07EDDEA08D1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692775" y="1301750"/>
            <a:ext cx="3451225" cy="36322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ja-JP" altLang="en-US" sz="1800">
                <a:solidFill>
                  <a:schemeClr val="tx2"/>
                </a:solidFill>
              </a:rPr>
              <a:t>長期保管データのクラウドへのティアリング</a:t>
            </a:r>
            <a:endParaRPr lang="en-US" sz="1800">
              <a:solidFill>
                <a:schemeClr val="tx2"/>
              </a:solidFill>
            </a:endParaRPr>
          </a:p>
          <a:p>
            <a:pPr lvl="1"/>
            <a:endParaRPr lang="en-US">
              <a:solidFill>
                <a:schemeClr val="tx2"/>
              </a:solidFill>
            </a:endParaRPr>
          </a:p>
          <a:p>
            <a:pPr lvl="1"/>
            <a:endParaRPr lang="en-US">
              <a:solidFill>
                <a:schemeClr val="tx2"/>
              </a:solidFill>
            </a:endParaRPr>
          </a:p>
          <a:p>
            <a:pPr lvl="1"/>
            <a:endParaRPr lang="en-US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altLang="ja-JP" sz="180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ja-JP" altLang="en-US" sz="1800">
                <a:solidFill>
                  <a:schemeClr val="tx2"/>
                </a:solidFill>
              </a:rPr>
              <a:t>クラウドへの</a:t>
            </a:r>
            <a:r>
              <a:rPr lang="en-US" altLang="ja-JP" sz="1800">
                <a:solidFill>
                  <a:schemeClr val="tx2"/>
                </a:solidFill>
              </a:rPr>
              <a:t>DR</a:t>
            </a:r>
            <a:r>
              <a:rPr lang="ja-JP" altLang="en-US" sz="1800">
                <a:solidFill>
                  <a:schemeClr val="tx2"/>
                </a:solidFill>
              </a:rPr>
              <a:t>フェールオーバー及びフェイルバック</a:t>
            </a:r>
            <a:endParaRPr lang="en-US" sz="1800">
              <a:solidFill>
                <a:schemeClr val="tx2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5F04F11-1AF4-4A54-A587-40241077B4E4}"/>
              </a:ext>
            </a:extLst>
          </p:cNvPr>
          <p:cNvGrpSpPr/>
          <p:nvPr/>
        </p:nvGrpSpPr>
        <p:grpSpPr>
          <a:xfrm>
            <a:off x="116" y="1151786"/>
            <a:ext cx="2222788" cy="3363064"/>
            <a:chOff x="289168" y="1094636"/>
            <a:chExt cx="2222788" cy="336306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D9147D4-CC51-47AF-9109-D39A3663A976}"/>
                </a:ext>
              </a:extLst>
            </p:cNvPr>
            <p:cNvGrpSpPr/>
            <p:nvPr/>
          </p:nvGrpSpPr>
          <p:grpSpPr>
            <a:xfrm>
              <a:off x="289168" y="1094636"/>
              <a:ext cx="2222788" cy="3363064"/>
              <a:chOff x="-129507" y="844999"/>
              <a:chExt cx="3443936" cy="4874944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B90B962B-B51D-4F28-9637-5B3C017349D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45740" r="14714"/>
              <a:stretch/>
            </p:blipFill>
            <p:spPr>
              <a:xfrm>
                <a:off x="-112820" y="844999"/>
                <a:ext cx="3427249" cy="487494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698CBA5D-9C8A-4FE1-B318-A40ACDBD73C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7909" r="21017" b="7144"/>
              <a:stretch/>
            </p:blipFill>
            <p:spPr>
              <a:xfrm>
                <a:off x="-129507" y="1029017"/>
                <a:ext cx="3081303" cy="3022199"/>
              </a:xfrm>
              <a:prstGeom prst="rect">
                <a:avLst/>
              </a:prstGeom>
            </p:spPr>
          </p:pic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0980364-451F-44F0-A898-8CA09BBC01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2491" r="27844"/>
            <a:stretch/>
          </p:blipFill>
          <p:spPr>
            <a:xfrm>
              <a:off x="299938" y="1235931"/>
              <a:ext cx="1988737" cy="2019769"/>
            </a:xfrm>
            <a:prstGeom prst="rect">
              <a:avLst/>
            </a:prstGeom>
          </p:spPr>
        </p:pic>
      </p:grpSp>
      <p:pic>
        <p:nvPicPr>
          <p:cNvPr id="62" name="Picture 61">
            <a:extLst>
              <a:ext uri="{FF2B5EF4-FFF2-40B4-BE49-F238E27FC236}">
                <a16:creationId xmlns:a16="http://schemas.microsoft.com/office/drawing/2014/main" id="{11FB9894-B54A-4D9A-A7FB-E585BD1BDEE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t="16359" b="18008"/>
          <a:stretch/>
        </p:blipFill>
        <p:spPr>
          <a:xfrm>
            <a:off x="3350454" y="1754587"/>
            <a:ext cx="2364546" cy="1551912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5AC7D06D-EE64-438E-9C65-8D3E2B939E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666" y="2011783"/>
            <a:ext cx="871890" cy="490189"/>
          </a:xfrm>
          <a:prstGeom prst="rect">
            <a:avLst/>
          </a:prstGeom>
        </p:spPr>
      </p:pic>
      <p:pic>
        <p:nvPicPr>
          <p:cNvPr id="16" name="Picture 2" descr="Image result for google cloud platform">
            <a:extLst>
              <a:ext uri="{FF2B5EF4-FFF2-40B4-BE49-F238E27FC236}">
                <a16:creationId xmlns:a16="http://schemas.microsoft.com/office/drawing/2014/main" id="{9D27B4E5-1AFA-4EBC-A20D-64057FEDAD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155" y="2609980"/>
            <a:ext cx="762984" cy="42386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5CBC288-B829-4867-B03A-0F82EF2ABD7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194" y="1923650"/>
            <a:ext cx="1007311" cy="503658"/>
          </a:xfrm>
          <a:prstGeom prst="rect">
            <a:avLst/>
          </a:prstGeom>
        </p:spPr>
      </p:pic>
      <p:pic>
        <p:nvPicPr>
          <p:cNvPr id="19" name="Picture 4" descr="Image result for alicloud">
            <a:extLst>
              <a:ext uri="{FF2B5EF4-FFF2-40B4-BE49-F238E27FC236}">
                <a16:creationId xmlns:a16="http://schemas.microsoft.com/office/drawing/2014/main" id="{40E45DE0-59DB-4FFE-882F-37E3E364DF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396" y="2755286"/>
            <a:ext cx="1365363" cy="41175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40F96F9-3192-46A9-B7A1-6EDB2D9D18C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722" y="2095227"/>
            <a:ext cx="672457" cy="11979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A30B8C9-A8C7-4820-ACC2-FE1B74BA77A8}"/>
              </a:ext>
            </a:extLst>
          </p:cNvPr>
          <p:cNvSpPr txBox="1"/>
          <p:nvPr/>
        </p:nvSpPr>
        <p:spPr>
          <a:xfrm>
            <a:off x="6595543" y="2200438"/>
            <a:ext cx="1557858" cy="240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lnSpc>
                <a:spcPct val="90000"/>
              </a:lnSpc>
              <a:spcBef>
                <a:spcPts val="800"/>
              </a:spcBef>
              <a:buClr>
                <a:srgbClr val="0076CE"/>
              </a:buClr>
            </a:pPr>
            <a:r>
              <a:rPr lang="en-US" sz="1067">
                <a:solidFill>
                  <a:schemeClr val="tx2"/>
                </a:solidFill>
                <a:latin typeface="Arial"/>
              </a:rPr>
              <a:t>Elastic Cloud Storage</a:t>
            </a:r>
          </a:p>
        </p:txBody>
      </p:sp>
      <p:pic>
        <p:nvPicPr>
          <p:cNvPr id="23" name="Picture 12" descr="Related image">
            <a:extLst>
              <a:ext uri="{FF2B5EF4-FFF2-40B4-BE49-F238E27FC236}">
                <a16:creationId xmlns:a16="http://schemas.microsoft.com/office/drawing/2014/main" id="{D5891365-AE9C-46A0-9CFE-3C20901D8F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203" y="2456845"/>
            <a:ext cx="291251" cy="307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B482EB7-3E01-4AAB-88EF-7E8B5D37880D}"/>
              </a:ext>
            </a:extLst>
          </p:cNvPr>
          <p:cNvSpPr txBox="1"/>
          <p:nvPr/>
        </p:nvSpPr>
        <p:spPr>
          <a:xfrm>
            <a:off x="7042727" y="2711407"/>
            <a:ext cx="784304" cy="609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lnSpc>
                <a:spcPct val="90000"/>
              </a:lnSpc>
              <a:buClr>
                <a:srgbClr val="0076CE"/>
              </a:buClr>
            </a:pPr>
            <a:r>
              <a:rPr lang="en-US" sz="1067" b="1">
                <a:solidFill>
                  <a:schemeClr val="tx2"/>
                </a:solidFill>
                <a:latin typeface="Arial"/>
              </a:rPr>
              <a:t>IBM Cloud</a:t>
            </a:r>
          </a:p>
          <a:p>
            <a:pPr algn="ctr" defTabSz="914354">
              <a:lnSpc>
                <a:spcPct val="90000"/>
              </a:lnSpc>
              <a:buClr>
                <a:srgbClr val="0076CE"/>
              </a:buClr>
            </a:pPr>
            <a:r>
              <a:rPr lang="en-US" sz="800">
                <a:solidFill>
                  <a:schemeClr val="tx2"/>
                </a:solidFill>
                <a:latin typeface="Arial"/>
              </a:rPr>
              <a:t>Object Storage</a:t>
            </a:r>
          </a:p>
        </p:txBody>
      </p:sp>
      <p:pic>
        <p:nvPicPr>
          <p:cNvPr id="25" name="Picture 14" descr="Image result for ceph logo eps">
            <a:extLst>
              <a:ext uri="{FF2B5EF4-FFF2-40B4-BE49-F238E27FC236}">
                <a16:creationId xmlns:a16="http://schemas.microsoft.com/office/drawing/2014/main" id="{C7EDAA46-D3E1-4FFC-B10B-DD3070BD9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8882" y="2425140"/>
            <a:ext cx="728953" cy="33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5D6A762-6E25-4586-BD98-9BFE8C22EA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6398" y="4161641"/>
            <a:ext cx="737420" cy="414588"/>
          </a:xfrm>
          <a:prstGeom prst="rect">
            <a:avLst/>
          </a:prstGeom>
        </p:spPr>
      </p:pic>
      <p:pic>
        <p:nvPicPr>
          <p:cNvPr id="27" name="Picture 8" descr="http://rvavmware.com/wp-content/uploads/2017/10/1-CMYK-300x217-300x217.png">
            <a:extLst>
              <a:ext uri="{FF2B5EF4-FFF2-40B4-BE49-F238E27FC236}">
                <a16:creationId xmlns:a16="http://schemas.microsoft.com/office/drawing/2014/main" id="{D297201C-8F85-49D8-812D-02AE16C6E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4901" y="4155926"/>
            <a:ext cx="737419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7">
            <a:extLst>
              <a:ext uri="{FF2B5EF4-FFF2-40B4-BE49-F238E27FC236}">
                <a16:creationId xmlns:a16="http://schemas.microsoft.com/office/drawing/2014/main" id="{6C851FEE-B617-4440-B608-967F5BF78B3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145" y="4011910"/>
            <a:ext cx="1007311" cy="50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8628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F6D124-4EA1-E9AA-2611-6793893FC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303734"/>
            <a:ext cx="6716520" cy="1121846"/>
          </a:xfrm>
        </p:spPr>
        <p:txBody>
          <a:bodyPr/>
          <a:lstStyle/>
          <a:p>
            <a:r>
              <a:rPr lang="en-US" altLang="ja-JP" dirty="0" err="1"/>
              <a:t>PowerProtect</a:t>
            </a:r>
            <a:r>
              <a:rPr lang="ja-JP" altLang="en-US" dirty="0"/>
              <a:t> </a:t>
            </a:r>
            <a:r>
              <a:rPr lang="en-US" altLang="ja-JP" dirty="0"/>
              <a:t>Data</a:t>
            </a:r>
            <a:r>
              <a:rPr lang="ja-JP" altLang="en-US" dirty="0"/>
              <a:t> </a:t>
            </a:r>
            <a:r>
              <a:rPr lang="en-US" altLang="ja-JP" dirty="0"/>
              <a:t>Manager</a:t>
            </a:r>
            <a:r>
              <a:rPr lang="ja-JP" altLang="en-US" dirty="0"/>
              <a:t>の特徴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7D7203-5671-C0FC-73CE-FD7FEE65D5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 sz="2400" dirty="0"/>
              <a:t>VM</a:t>
            </a:r>
            <a:r>
              <a:rPr lang="ja-JP" altLang="en-US" sz="2400" dirty="0"/>
              <a:t>プロテクション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48450902"/>
      </p:ext>
    </p:extLst>
  </p:cSld>
  <p:clrMapOvr>
    <a:masterClrMapping/>
  </p:clrMapOvr>
  <p:transition spd="slow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8893722-8636-456A-BD9D-6F880743CD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98571"/>
          </a:xfrm>
        </p:spPr>
        <p:txBody>
          <a:bodyPr/>
          <a:lstStyle/>
          <a:p>
            <a:r>
              <a:rPr lang="en-US" altLang="ja-JP"/>
              <a:t>VM</a:t>
            </a:r>
            <a:r>
              <a:rPr lang="ja-JP" altLang="en-US"/>
              <a:t> プロテクションの概要</a:t>
            </a:r>
            <a:r>
              <a:rPr kumimoji="1" lang="ja-JP" altLang="en-US">
                <a:solidFill>
                  <a:schemeClr val="tx2"/>
                </a:solidFill>
              </a:rPr>
              <a:t>及び機能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1C4622DC-059D-45A8-B17E-C34F462F804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52250" y="771550"/>
            <a:ext cx="8678738" cy="4071342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z="1800">
                <a:solidFill>
                  <a:schemeClr val="tx2"/>
                </a:solidFill>
              </a:rPr>
              <a:t>概要</a:t>
            </a:r>
            <a:endParaRPr lang="en-US" altLang="ja-JP" sz="1800">
              <a:solidFill>
                <a:schemeClr val="tx2"/>
              </a:solidFill>
            </a:endParaRP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vSphere</a:t>
            </a:r>
            <a:r>
              <a:rPr lang="ja-JP" altLang="en-US" sz="1400">
                <a:solidFill>
                  <a:schemeClr val="tx2"/>
                </a:solidFill>
              </a:rPr>
              <a:t>標準の</a:t>
            </a:r>
            <a:r>
              <a:rPr lang="en-US" altLang="ja-JP" sz="1400">
                <a:solidFill>
                  <a:schemeClr val="tx2"/>
                </a:solidFill>
              </a:rPr>
              <a:t>VADP</a:t>
            </a:r>
            <a:r>
              <a:rPr lang="ja-JP" altLang="en-US" sz="1400">
                <a:solidFill>
                  <a:schemeClr val="tx2"/>
                </a:solidFill>
              </a:rPr>
              <a:t>方式によるイメージバックアップ・リストア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lang="en-US" altLang="ja-JP" sz="1400" err="1">
                <a:solidFill>
                  <a:schemeClr val="tx2"/>
                </a:solidFill>
              </a:rPr>
              <a:t>PowerProtect</a:t>
            </a:r>
            <a:r>
              <a:rPr lang="en-US" altLang="ja-JP" sz="1400">
                <a:solidFill>
                  <a:schemeClr val="tx2"/>
                </a:solidFill>
              </a:rPr>
              <a:t> DM</a:t>
            </a:r>
            <a:r>
              <a:rPr lang="ja-JP" altLang="en-US" sz="1400">
                <a:solidFill>
                  <a:schemeClr val="tx2"/>
                </a:solidFill>
              </a:rPr>
              <a:t>（</a:t>
            </a:r>
            <a:r>
              <a:rPr lang="en-US" altLang="ja-JP" sz="1400">
                <a:solidFill>
                  <a:schemeClr val="tx2"/>
                </a:solidFill>
              </a:rPr>
              <a:t>GUI</a:t>
            </a:r>
            <a:r>
              <a:rPr lang="ja-JP" altLang="en-US" sz="1400">
                <a:solidFill>
                  <a:schemeClr val="tx2"/>
                </a:solidFill>
              </a:rPr>
              <a:t>）及び</a:t>
            </a:r>
            <a:r>
              <a:rPr lang="en-US" altLang="ja-JP" sz="1400">
                <a:solidFill>
                  <a:schemeClr val="tx2"/>
                </a:solidFill>
              </a:rPr>
              <a:t>vSphere Client</a:t>
            </a:r>
            <a:r>
              <a:rPr lang="ja-JP" altLang="en-US" sz="1400">
                <a:solidFill>
                  <a:schemeClr val="tx2"/>
                </a:solidFill>
              </a:rPr>
              <a:t>（</a:t>
            </a:r>
            <a:r>
              <a:rPr lang="en-US" altLang="ja-JP" sz="1400">
                <a:solidFill>
                  <a:schemeClr val="tx2"/>
                </a:solidFill>
              </a:rPr>
              <a:t>GUI</a:t>
            </a:r>
            <a:r>
              <a:rPr lang="ja-JP" altLang="en-US" sz="1400">
                <a:solidFill>
                  <a:schemeClr val="tx2"/>
                </a:solidFill>
              </a:rPr>
              <a:t>）による操作、管理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DataDomain</a:t>
            </a:r>
            <a:r>
              <a:rPr lang="ja-JP" altLang="en-US" sz="1400">
                <a:solidFill>
                  <a:schemeClr val="tx2"/>
                </a:solidFill>
              </a:rPr>
              <a:t> へのバックアップデータのコピー管理</a:t>
            </a:r>
            <a:endParaRPr lang="en-US" altLang="ja-JP" sz="1400">
              <a:solidFill>
                <a:schemeClr val="tx2"/>
              </a:solidFill>
            </a:endParaRPr>
          </a:p>
          <a:p>
            <a:r>
              <a:rPr kumimoji="1" lang="ja-JP" altLang="en-US" sz="1800">
                <a:solidFill>
                  <a:schemeClr val="tx2"/>
                </a:solidFill>
              </a:rPr>
              <a:t>機能</a:t>
            </a:r>
            <a:endParaRPr kumimoji="1" lang="en-US" altLang="ja-JP" sz="1800">
              <a:solidFill>
                <a:schemeClr val="tx2"/>
              </a:solidFill>
            </a:endParaRPr>
          </a:p>
          <a:p>
            <a:pPr lvl="1"/>
            <a:r>
              <a:rPr kumimoji="1" lang="ja-JP" altLang="en-US" sz="1400">
                <a:solidFill>
                  <a:schemeClr val="tx2"/>
                </a:solidFill>
              </a:rPr>
              <a:t>自動</a:t>
            </a:r>
            <a:r>
              <a:rPr lang="ja-JP" altLang="en-US" sz="1400">
                <a:solidFill>
                  <a:schemeClr val="tx2"/>
                </a:solidFill>
              </a:rPr>
              <a:t>的に</a:t>
            </a:r>
            <a:r>
              <a:rPr lang="en-US" altLang="ja-JP" sz="1400">
                <a:solidFill>
                  <a:schemeClr val="tx2"/>
                </a:solidFill>
              </a:rPr>
              <a:t>VM</a:t>
            </a:r>
            <a:r>
              <a:rPr lang="ja-JP" altLang="en-US" sz="1400" err="1">
                <a:solidFill>
                  <a:schemeClr val="tx2"/>
                </a:solidFill>
              </a:rPr>
              <a:t>を</a:t>
            </a:r>
            <a:r>
              <a:rPr kumimoji="1" lang="ja-JP" altLang="en-US" sz="1400" err="1">
                <a:solidFill>
                  <a:schemeClr val="tx2"/>
                </a:solidFill>
              </a:rPr>
              <a:t>検</a:t>
            </a:r>
            <a:r>
              <a:rPr kumimoji="1" lang="ja-JP" altLang="en-US" sz="1400">
                <a:solidFill>
                  <a:schemeClr val="tx2"/>
                </a:solidFill>
              </a:rPr>
              <a:t>出：</a:t>
            </a:r>
            <a:r>
              <a:rPr kumimoji="1" lang="en-US" altLang="ja-JP" sz="1400">
                <a:solidFill>
                  <a:schemeClr val="tx2"/>
                </a:solidFill>
              </a:rPr>
              <a:t>Asset</a:t>
            </a:r>
            <a:r>
              <a:rPr lang="ja-JP" altLang="en-US" sz="1400">
                <a:solidFill>
                  <a:schemeClr val="tx2"/>
                </a:solidFill>
              </a:rPr>
              <a:t>（</a:t>
            </a:r>
            <a:r>
              <a:rPr lang="en-US" altLang="ja-JP" sz="1400" err="1">
                <a:solidFill>
                  <a:schemeClr val="tx2"/>
                </a:solidFill>
              </a:rPr>
              <a:t>PowerProtect</a:t>
            </a:r>
            <a:r>
              <a:rPr lang="en-US" altLang="ja-JP" sz="1400">
                <a:solidFill>
                  <a:schemeClr val="tx2"/>
                </a:solidFill>
              </a:rPr>
              <a:t> DM</a:t>
            </a:r>
            <a:r>
              <a:rPr lang="ja-JP" altLang="en-US" sz="1400">
                <a:solidFill>
                  <a:schemeClr val="tx2"/>
                </a:solidFill>
              </a:rPr>
              <a:t>へ</a:t>
            </a:r>
            <a:r>
              <a:rPr lang="en-US" altLang="ja-JP" sz="1400">
                <a:solidFill>
                  <a:schemeClr val="tx2"/>
                </a:solidFill>
              </a:rPr>
              <a:t>vCenter</a:t>
            </a:r>
            <a:r>
              <a:rPr lang="ja-JP" altLang="en-US" sz="1400">
                <a:solidFill>
                  <a:schemeClr val="tx2"/>
                </a:solidFill>
              </a:rPr>
              <a:t>登録が必要）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kumimoji="1" lang="ja-JP" altLang="en-US" sz="1400">
                <a:solidFill>
                  <a:schemeClr val="tx2"/>
                </a:solidFill>
              </a:rPr>
              <a:t>新規</a:t>
            </a:r>
            <a:r>
              <a:rPr kumimoji="1" lang="en-US" altLang="ja-JP" sz="1400">
                <a:solidFill>
                  <a:schemeClr val="tx2"/>
                </a:solidFill>
              </a:rPr>
              <a:t>VM</a:t>
            </a:r>
            <a:r>
              <a:rPr kumimoji="1" lang="ja-JP" altLang="en-US" sz="1400">
                <a:solidFill>
                  <a:schemeClr val="tx2"/>
                </a:solidFill>
              </a:rPr>
              <a:t>の自動検出：</a:t>
            </a:r>
            <a:r>
              <a:rPr kumimoji="1" lang="en-US" altLang="ja-JP" sz="1400">
                <a:solidFill>
                  <a:schemeClr val="tx2"/>
                </a:solidFill>
              </a:rPr>
              <a:t>Dynamic</a:t>
            </a:r>
            <a:r>
              <a:rPr kumimoji="1" lang="ja-JP" altLang="en-US" sz="1400">
                <a:solidFill>
                  <a:schemeClr val="tx2"/>
                </a:solidFill>
              </a:rPr>
              <a:t> </a:t>
            </a:r>
            <a:r>
              <a:rPr kumimoji="1" lang="en-US" altLang="ja-JP" sz="1400">
                <a:solidFill>
                  <a:schemeClr val="tx2"/>
                </a:solidFill>
              </a:rPr>
              <a:t>Filter</a:t>
            </a:r>
            <a:r>
              <a:rPr kumimoji="1" lang="ja-JP" altLang="en-US" sz="1400">
                <a:solidFill>
                  <a:schemeClr val="tx2"/>
                </a:solidFill>
              </a:rPr>
              <a:t>（</a:t>
            </a:r>
            <a:r>
              <a:rPr kumimoji="1" lang="en-US" altLang="ja-JP" sz="1400">
                <a:solidFill>
                  <a:schemeClr val="tx2"/>
                </a:solidFill>
              </a:rPr>
              <a:t>VM</a:t>
            </a:r>
            <a:r>
              <a:rPr kumimoji="1" lang="ja-JP" altLang="en-US" sz="1400">
                <a:solidFill>
                  <a:schemeClr val="tx2"/>
                </a:solidFill>
              </a:rPr>
              <a:t>名などの合致条件を設定）</a:t>
            </a:r>
            <a:endParaRPr kumimoji="1" lang="en-US" altLang="ja-JP" sz="1400">
              <a:solidFill>
                <a:schemeClr val="tx2"/>
              </a:solidFill>
            </a:endParaRP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Proxy</a:t>
            </a:r>
            <a:r>
              <a:rPr lang="ja-JP" altLang="en-US" sz="1400">
                <a:solidFill>
                  <a:schemeClr val="tx2"/>
                </a:solidFill>
              </a:rPr>
              <a:t>は自動的に</a:t>
            </a:r>
            <a:r>
              <a:rPr lang="en-US" altLang="ja-JP" sz="1400">
                <a:solidFill>
                  <a:schemeClr val="tx2"/>
                </a:solidFill>
              </a:rPr>
              <a:t>Deploy</a:t>
            </a:r>
            <a:r>
              <a:rPr lang="ja-JP" altLang="en-US" sz="1400">
                <a:solidFill>
                  <a:schemeClr val="tx2"/>
                </a:solidFill>
              </a:rPr>
              <a:t>される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lang="ja-JP" altLang="en-US" sz="1400">
                <a:solidFill>
                  <a:schemeClr val="tx2"/>
                </a:solidFill>
              </a:rPr>
              <a:t>バックアップデータのコピー操作（スケジュールによる</a:t>
            </a:r>
            <a:r>
              <a:rPr lang="en-US" altLang="ja-JP" sz="1400">
                <a:solidFill>
                  <a:schemeClr val="tx2"/>
                </a:solidFill>
              </a:rPr>
              <a:t>DR</a:t>
            </a:r>
            <a:r>
              <a:rPr lang="ja-JP" altLang="en-US" sz="1400">
                <a:solidFill>
                  <a:schemeClr val="tx2"/>
                </a:solidFill>
              </a:rPr>
              <a:t>等）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SLA</a:t>
            </a:r>
            <a:r>
              <a:rPr lang="ja-JP" altLang="en-US" sz="1400">
                <a:solidFill>
                  <a:schemeClr val="tx2"/>
                </a:solidFill>
              </a:rPr>
              <a:t>設定及びレポート</a:t>
            </a:r>
            <a:endParaRPr lang="en-US" altLang="ja-JP" sz="1400">
              <a:solidFill>
                <a:schemeClr val="tx2"/>
              </a:solidFill>
            </a:endParaRPr>
          </a:p>
          <a:p>
            <a:pPr lvl="1"/>
            <a:r>
              <a:rPr lang="ja-JP" altLang="en-US" sz="1400">
                <a:solidFill>
                  <a:schemeClr val="tx2"/>
                </a:solidFill>
              </a:rPr>
              <a:t>イメージバックアップのファイル</a:t>
            </a:r>
            <a:r>
              <a:rPr lang="en-US" altLang="ja-JP" sz="1400">
                <a:solidFill>
                  <a:schemeClr val="tx2"/>
                </a:solidFill>
              </a:rPr>
              <a:t>/</a:t>
            </a:r>
            <a:r>
              <a:rPr lang="ja-JP" altLang="en-US" sz="1400">
                <a:solidFill>
                  <a:schemeClr val="tx2"/>
                </a:solidFill>
              </a:rPr>
              <a:t>フォルダレベルのリカバリー</a:t>
            </a:r>
            <a:r>
              <a:rPr lang="en-US" altLang="ja-JP" sz="1400">
                <a:solidFill>
                  <a:schemeClr val="tx2"/>
                </a:solidFill>
              </a:rPr>
              <a:t>(FLR)</a:t>
            </a:r>
            <a:r>
              <a:rPr lang="ja-JP" altLang="en-US" sz="1400">
                <a:solidFill>
                  <a:schemeClr val="tx2"/>
                </a:solidFill>
              </a:rPr>
              <a:t>対応</a:t>
            </a:r>
            <a:r>
              <a:rPr lang="en-US" altLang="ja-JP" sz="1400">
                <a:solidFill>
                  <a:schemeClr val="tx2"/>
                </a:solidFill>
              </a:rPr>
              <a:t>(</a:t>
            </a:r>
            <a:r>
              <a:rPr lang="ja-JP" altLang="en-US" sz="1400">
                <a:solidFill>
                  <a:schemeClr val="tx2"/>
                </a:solidFill>
              </a:rPr>
              <a:t>日本語ファイル、フォルダ名にも対応</a:t>
            </a:r>
            <a:r>
              <a:rPr lang="en-US" altLang="ja-JP" sz="1400">
                <a:solidFill>
                  <a:schemeClr val="tx2"/>
                </a:solidFill>
              </a:rPr>
              <a:t>)</a:t>
            </a: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MS</a:t>
            </a:r>
            <a:r>
              <a:rPr lang="ja-JP" altLang="en-US" sz="1400">
                <a:solidFill>
                  <a:schemeClr val="tx2"/>
                </a:solidFill>
              </a:rPr>
              <a:t> </a:t>
            </a:r>
            <a:r>
              <a:rPr lang="en-US" altLang="ja-JP" sz="1400">
                <a:solidFill>
                  <a:schemeClr val="tx2"/>
                </a:solidFill>
              </a:rPr>
              <a:t>SQL</a:t>
            </a:r>
            <a:r>
              <a:rPr lang="ja-JP" altLang="en-US" sz="1400">
                <a:solidFill>
                  <a:schemeClr val="tx2"/>
                </a:solidFill>
              </a:rPr>
              <a:t>の</a:t>
            </a:r>
            <a:r>
              <a:rPr lang="en-US" altLang="ja-JP" sz="1400">
                <a:solidFill>
                  <a:schemeClr val="tx2"/>
                </a:solidFill>
              </a:rPr>
              <a:t>DB</a:t>
            </a:r>
            <a:r>
              <a:rPr lang="ja-JP" altLang="en-US" sz="1400">
                <a:solidFill>
                  <a:schemeClr val="tx2"/>
                </a:solidFill>
              </a:rPr>
              <a:t>整合性を保持したイメージバックアップ・リストアが可能（</a:t>
            </a:r>
            <a:r>
              <a:rPr lang="en-US" altLang="ja-JP" sz="1400">
                <a:solidFill>
                  <a:schemeClr val="tx2"/>
                </a:solidFill>
              </a:rPr>
              <a:t>Plugin</a:t>
            </a:r>
            <a:r>
              <a:rPr lang="ja-JP" altLang="en-US" sz="1400">
                <a:solidFill>
                  <a:schemeClr val="tx2"/>
                </a:solidFill>
              </a:rPr>
              <a:t>の自動デプロイ）</a:t>
            </a:r>
            <a:endParaRPr lang="en-US" altLang="ja-JP" sz="1400">
              <a:solidFill>
                <a:schemeClr val="tx2"/>
              </a:solidFill>
            </a:endParaRPr>
          </a:p>
          <a:p>
            <a:r>
              <a:rPr kumimoji="1" lang="ja-JP" altLang="en-US" sz="1600">
                <a:solidFill>
                  <a:schemeClr val="tx2"/>
                </a:solidFill>
              </a:rPr>
              <a:t>構成条件</a:t>
            </a:r>
            <a:endParaRPr kumimoji="1" lang="en-US" altLang="ja-JP" sz="1600">
              <a:solidFill>
                <a:schemeClr val="tx2"/>
              </a:solidFill>
            </a:endParaRPr>
          </a:p>
          <a:p>
            <a:pPr lvl="1"/>
            <a:r>
              <a:rPr lang="en-US" altLang="ja-JP" sz="1400" err="1">
                <a:solidFill>
                  <a:schemeClr val="tx2"/>
                </a:solidFill>
              </a:rPr>
              <a:t>ESXi</a:t>
            </a:r>
            <a:r>
              <a:rPr lang="en-US" altLang="ja-JP" sz="1400">
                <a:solidFill>
                  <a:schemeClr val="tx2"/>
                </a:solidFill>
              </a:rPr>
              <a:t>/vCenter 6.5, 6.7, 7.0</a:t>
            </a:r>
            <a:endParaRPr kumimoji="1" lang="en-US" altLang="ja-JP" sz="1400">
              <a:solidFill>
                <a:schemeClr val="tx2"/>
              </a:solidFill>
            </a:endParaRPr>
          </a:p>
          <a:p>
            <a:pPr lvl="1"/>
            <a:r>
              <a:rPr lang="en-US" altLang="ja-JP" sz="1400">
                <a:solidFill>
                  <a:schemeClr val="tx2"/>
                </a:solidFill>
              </a:rPr>
              <a:t>DDOS 6.1.0 ~</a:t>
            </a:r>
          </a:p>
          <a:p>
            <a:pPr marL="0" indent="0">
              <a:buNone/>
            </a:pPr>
            <a:endParaRPr kumimoji="1" lang="en-US" altLang="ja-JP" sz="1800">
              <a:solidFill>
                <a:schemeClr val="tx2"/>
              </a:solidFill>
            </a:endParaRPr>
          </a:p>
          <a:p>
            <a:pPr lvl="1"/>
            <a:endParaRPr kumimoji="1" lang="en-US" altLang="ja-JP" sz="1200">
              <a:solidFill>
                <a:schemeClr val="tx2"/>
              </a:solidFill>
            </a:endParaRPr>
          </a:p>
          <a:p>
            <a:pPr lvl="1"/>
            <a:endParaRPr kumimoji="1" lang="en-US" altLang="ja-JP" sz="1400">
              <a:solidFill>
                <a:schemeClr val="tx2"/>
              </a:solidFill>
            </a:endParaRPr>
          </a:p>
          <a:p>
            <a:pPr lvl="1"/>
            <a:endParaRPr kumimoji="1" lang="en-US" altLang="ja-JP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0084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C891835C-A8F9-46F7-8391-A328F8FE9B4B}"/>
              </a:ext>
            </a:extLst>
          </p:cNvPr>
          <p:cNvSpPr/>
          <p:nvPr/>
        </p:nvSpPr>
        <p:spPr>
          <a:xfrm>
            <a:off x="5483670" y="0"/>
            <a:ext cx="3660330" cy="51435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F6068BE-EC5A-5C4F-8602-2BB75639853D}"/>
              </a:ext>
            </a:extLst>
          </p:cNvPr>
          <p:cNvSpPr/>
          <p:nvPr/>
        </p:nvSpPr>
        <p:spPr>
          <a:xfrm>
            <a:off x="-1" y="1013067"/>
            <a:ext cx="5483671" cy="147732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parent Snapshot</a:t>
            </a:r>
            <a:r>
              <a:rPr kumimoji="0" lang="ja-JP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により</a:t>
            </a:r>
            <a:endParaRPr kumimoji="0" lang="en-US" altLang="ja-JP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</a:t>
            </a: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バックアップをより</a:t>
            </a:r>
            <a:r>
              <a:rPr kumimoji="0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シンプル</a:t>
            </a: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に</a:t>
            </a:r>
            <a:r>
              <a:rPr kumimoji="0" lang="en-US" altLang="ja-JP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</a:t>
            </a: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への</a:t>
            </a:r>
            <a:r>
              <a:rPr kumimoji="0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パフォーマンス影響を最小化</a:t>
            </a: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します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2B8946D-45C9-854F-9ADE-F527D4413F7E}"/>
              </a:ext>
            </a:extLst>
          </p:cNvPr>
          <p:cNvSpPr/>
          <p:nvPr/>
        </p:nvSpPr>
        <p:spPr>
          <a:xfrm>
            <a:off x="1" y="2586925"/>
            <a:ext cx="5483672" cy="914400"/>
          </a:xfrm>
          <a:prstGeom prst="rect">
            <a:avLst/>
          </a:prstGeom>
          <a:gradFill>
            <a:gsLst>
              <a:gs pos="0">
                <a:schemeClr val="accent6">
                  <a:alpha val="0"/>
                </a:schemeClr>
              </a:gs>
              <a:gs pos="26000">
                <a:schemeClr val="bg1"/>
              </a:gs>
              <a:gs pos="100000">
                <a:schemeClr val="accent1"/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ビジネスを中断することなく、</a:t>
            </a:r>
            <a:endParaRPr kumimoji="0" lang="en-US" altLang="ja-JP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すべての</a:t>
            </a:r>
            <a:r>
              <a:rPr kumimoji="0" lang="en-US" altLang="ja-JP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M</a:t>
            </a:r>
            <a:r>
              <a:rPr kumimoji="0" lang="ja-JP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の可用性を最大限にします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AAF99F1-DCB4-8F4F-B477-744530C23484}"/>
              </a:ext>
            </a:extLst>
          </p:cNvPr>
          <p:cNvSpPr/>
          <p:nvPr/>
        </p:nvSpPr>
        <p:spPr>
          <a:xfrm>
            <a:off x="6169194" y="458473"/>
            <a:ext cx="2292007" cy="3749137"/>
          </a:xfrm>
          <a:prstGeom prst="rect">
            <a:avLst/>
          </a:prstGeom>
          <a:solidFill>
            <a:schemeClr val="accent6">
              <a:alpha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1E77B319-1243-7641-AE87-03BD50D1BC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09" y="4838808"/>
            <a:ext cx="1078992" cy="140268"/>
          </a:xfrm>
          <a:prstGeom prst="rect">
            <a:avLst/>
          </a:prstGeom>
        </p:spPr>
      </p:pic>
      <p:sp>
        <p:nvSpPr>
          <p:cNvPr id="63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144BCB96-8382-5442-86D2-D30A3D30342E}"/>
              </a:ext>
            </a:extLst>
          </p:cNvPr>
          <p:cNvSpPr txBox="1"/>
          <p:nvPr/>
        </p:nvSpPr>
        <p:spPr>
          <a:xfrm>
            <a:off x="4200103" y="5022289"/>
            <a:ext cx="743793" cy="6925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5DE8F52-9A14-7145-9A05-82C9A9ADD032}"/>
              </a:ext>
            </a:extLst>
          </p:cNvPr>
          <p:cNvGrpSpPr/>
          <p:nvPr/>
        </p:nvGrpSpPr>
        <p:grpSpPr>
          <a:xfrm>
            <a:off x="724622" y="2490396"/>
            <a:ext cx="4034431" cy="1107458"/>
            <a:chOff x="2974488" y="1626730"/>
            <a:chExt cx="3151991" cy="1869369"/>
          </a:xfrm>
        </p:grpSpPr>
        <p:sp>
          <p:nvSpPr>
            <p:cNvPr id="49" name="Rectangle 10">
              <a:extLst>
                <a:ext uri="{FF2B5EF4-FFF2-40B4-BE49-F238E27FC236}">
                  <a16:creationId xmlns:a16="http://schemas.microsoft.com/office/drawing/2014/main" id="{6B6F3F9C-DBB4-8A4D-812F-0B957FACC2DB}"/>
                </a:ext>
              </a:extLst>
            </p:cNvPr>
            <p:cNvSpPr>
              <a:spLocks/>
            </p:cNvSpPr>
            <p:nvPr/>
          </p:nvSpPr>
          <p:spPr>
            <a:xfrm>
              <a:off x="2974488" y="1626730"/>
              <a:ext cx="1428792" cy="928267"/>
            </a:xfrm>
            <a:custGeom>
              <a:avLst/>
              <a:gdLst>
                <a:gd name="connsiteX0" fmla="*/ 0 w 2861534"/>
                <a:gd name="connsiteY0" fmla="*/ 0 h 1609612"/>
                <a:gd name="connsiteX1" fmla="*/ 2861534 w 2861534"/>
                <a:gd name="connsiteY1" fmla="*/ 0 h 1609612"/>
                <a:gd name="connsiteX2" fmla="*/ 2861534 w 2861534"/>
                <a:gd name="connsiteY2" fmla="*/ 1609612 h 1609612"/>
                <a:gd name="connsiteX3" fmla="*/ 0 w 2861534"/>
                <a:gd name="connsiteY3" fmla="*/ 1609612 h 1609612"/>
                <a:gd name="connsiteX4" fmla="*/ 0 w 2861534"/>
                <a:gd name="connsiteY4" fmla="*/ 0 h 1609612"/>
                <a:gd name="connsiteX0" fmla="*/ 2861534 w 2952974"/>
                <a:gd name="connsiteY0" fmla="*/ 1609612 h 1701052"/>
                <a:gd name="connsiteX1" fmla="*/ 0 w 2952974"/>
                <a:gd name="connsiteY1" fmla="*/ 1609612 h 1701052"/>
                <a:gd name="connsiteX2" fmla="*/ 0 w 2952974"/>
                <a:gd name="connsiteY2" fmla="*/ 0 h 1701052"/>
                <a:gd name="connsiteX3" fmla="*/ 2861534 w 2952974"/>
                <a:gd name="connsiteY3" fmla="*/ 0 h 1701052"/>
                <a:gd name="connsiteX4" fmla="*/ 2952974 w 2952974"/>
                <a:gd name="connsiteY4" fmla="*/ 1701052 h 1701052"/>
                <a:gd name="connsiteX0" fmla="*/ 2861534 w 2861534"/>
                <a:gd name="connsiteY0" fmla="*/ 1609612 h 1609612"/>
                <a:gd name="connsiteX1" fmla="*/ 0 w 2861534"/>
                <a:gd name="connsiteY1" fmla="*/ 1609612 h 1609612"/>
                <a:gd name="connsiteX2" fmla="*/ 0 w 2861534"/>
                <a:gd name="connsiteY2" fmla="*/ 0 h 1609612"/>
                <a:gd name="connsiteX3" fmla="*/ 2861534 w 2861534"/>
                <a:gd name="connsiteY3" fmla="*/ 0 h 1609612"/>
                <a:gd name="connsiteX0" fmla="*/ 0 w 2861534"/>
                <a:gd name="connsiteY0" fmla="*/ 1609612 h 1609612"/>
                <a:gd name="connsiteX1" fmla="*/ 0 w 2861534"/>
                <a:gd name="connsiteY1" fmla="*/ 0 h 1609612"/>
                <a:gd name="connsiteX2" fmla="*/ 2861534 w 2861534"/>
                <a:gd name="connsiteY2" fmla="*/ 0 h 160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61534" h="1609612">
                  <a:moveTo>
                    <a:pt x="0" y="1609612"/>
                  </a:moveTo>
                  <a:lnTo>
                    <a:pt x="0" y="0"/>
                  </a:lnTo>
                  <a:lnTo>
                    <a:pt x="2861534" y="0"/>
                  </a:lnTo>
                </a:path>
              </a:pathLst>
            </a:custGeom>
            <a:solidFill>
              <a:schemeClr val="bg1">
                <a:alpha val="0"/>
              </a:schemeClr>
            </a:solidFill>
            <a:ln w="12700">
              <a:solidFill>
                <a:schemeClr val="tx2">
                  <a:alpha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10">
              <a:extLst>
                <a:ext uri="{FF2B5EF4-FFF2-40B4-BE49-F238E27FC236}">
                  <a16:creationId xmlns:a16="http://schemas.microsoft.com/office/drawing/2014/main" id="{43C80077-761D-CF4D-8A95-D3F0F5689022}"/>
                </a:ext>
              </a:extLst>
            </p:cNvPr>
            <p:cNvSpPr>
              <a:spLocks/>
            </p:cNvSpPr>
            <p:nvPr/>
          </p:nvSpPr>
          <p:spPr>
            <a:xfrm rot="10800000">
              <a:off x="4697687" y="2567832"/>
              <a:ext cx="1428792" cy="928267"/>
            </a:xfrm>
            <a:custGeom>
              <a:avLst/>
              <a:gdLst>
                <a:gd name="connsiteX0" fmla="*/ 0 w 2861534"/>
                <a:gd name="connsiteY0" fmla="*/ 0 h 1609612"/>
                <a:gd name="connsiteX1" fmla="*/ 2861534 w 2861534"/>
                <a:gd name="connsiteY1" fmla="*/ 0 h 1609612"/>
                <a:gd name="connsiteX2" fmla="*/ 2861534 w 2861534"/>
                <a:gd name="connsiteY2" fmla="*/ 1609612 h 1609612"/>
                <a:gd name="connsiteX3" fmla="*/ 0 w 2861534"/>
                <a:gd name="connsiteY3" fmla="*/ 1609612 h 1609612"/>
                <a:gd name="connsiteX4" fmla="*/ 0 w 2861534"/>
                <a:gd name="connsiteY4" fmla="*/ 0 h 1609612"/>
                <a:gd name="connsiteX0" fmla="*/ 2861534 w 2952974"/>
                <a:gd name="connsiteY0" fmla="*/ 1609612 h 1701052"/>
                <a:gd name="connsiteX1" fmla="*/ 0 w 2952974"/>
                <a:gd name="connsiteY1" fmla="*/ 1609612 h 1701052"/>
                <a:gd name="connsiteX2" fmla="*/ 0 w 2952974"/>
                <a:gd name="connsiteY2" fmla="*/ 0 h 1701052"/>
                <a:gd name="connsiteX3" fmla="*/ 2861534 w 2952974"/>
                <a:gd name="connsiteY3" fmla="*/ 0 h 1701052"/>
                <a:gd name="connsiteX4" fmla="*/ 2952974 w 2952974"/>
                <a:gd name="connsiteY4" fmla="*/ 1701052 h 1701052"/>
                <a:gd name="connsiteX0" fmla="*/ 2861534 w 2861534"/>
                <a:gd name="connsiteY0" fmla="*/ 1609612 h 1609612"/>
                <a:gd name="connsiteX1" fmla="*/ 0 w 2861534"/>
                <a:gd name="connsiteY1" fmla="*/ 1609612 h 1609612"/>
                <a:gd name="connsiteX2" fmla="*/ 0 w 2861534"/>
                <a:gd name="connsiteY2" fmla="*/ 0 h 1609612"/>
                <a:gd name="connsiteX3" fmla="*/ 2861534 w 2861534"/>
                <a:gd name="connsiteY3" fmla="*/ 0 h 1609612"/>
                <a:gd name="connsiteX0" fmla="*/ 0 w 2861534"/>
                <a:gd name="connsiteY0" fmla="*/ 1609612 h 1609612"/>
                <a:gd name="connsiteX1" fmla="*/ 0 w 2861534"/>
                <a:gd name="connsiteY1" fmla="*/ 0 h 1609612"/>
                <a:gd name="connsiteX2" fmla="*/ 2861534 w 2861534"/>
                <a:gd name="connsiteY2" fmla="*/ 0 h 160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61534" h="1609612">
                  <a:moveTo>
                    <a:pt x="0" y="1609612"/>
                  </a:moveTo>
                  <a:lnTo>
                    <a:pt x="0" y="0"/>
                  </a:lnTo>
                  <a:lnTo>
                    <a:pt x="2861534" y="0"/>
                  </a:lnTo>
                </a:path>
              </a:pathLst>
            </a:custGeom>
            <a:solidFill>
              <a:schemeClr val="bg1">
                <a:alpha val="0"/>
              </a:schemeClr>
            </a:solidFill>
            <a:ln w="12700">
              <a:solidFill>
                <a:schemeClr val="tx2">
                  <a:alpha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5A1DEC1-65D2-8447-A9FC-A71EC40A4BA1}"/>
              </a:ext>
            </a:extLst>
          </p:cNvPr>
          <p:cNvGrpSpPr>
            <a:grpSpLocks noChangeAspect="1"/>
          </p:cNvGrpSpPr>
          <p:nvPr/>
        </p:nvGrpSpPr>
        <p:grpSpPr>
          <a:xfrm>
            <a:off x="817974" y="460112"/>
            <a:ext cx="7508052" cy="4223276"/>
            <a:chOff x="3119716" y="1756609"/>
            <a:chExt cx="2861534" cy="1609612"/>
          </a:xfrm>
          <a:solidFill>
            <a:schemeClr val="accent6">
              <a:alpha val="14000"/>
            </a:schemeClr>
          </a:solidFill>
        </p:grpSpPr>
        <p:pic>
          <p:nvPicPr>
            <p:cNvPr id="66" name="Graphic 65" descr="Add with solid fill">
              <a:extLst>
                <a:ext uri="{FF2B5EF4-FFF2-40B4-BE49-F238E27FC236}">
                  <a16:creationId xmlns:a16="http://schemas.microsoft.com/office/drawing/2014/main" id="{E1989531-2E31-E342-8F4D-DF27FBA39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52650" y="1756609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67" name="Graphic 66" descr="Add with solid fill">
              <a:extLst>
                <a:ext uri="{FF2B5EF4-FFF2-40B4-BE49-F238E27FC236}">
                  <a16:creationId xmlns:a16="http://schemas.microsoft.com/office/drawing/2014/main" id="{E52EA69E-72AD-B542-88F5-C97655BFE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19716" y="1756609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68" name="Graphic 67" descr="Add with solid fill">
              <a:extLst>
                <a:ext uri="{FF2B5EF4-FFF2-40B4-BE49-F238E27FC236}">
                  <a16:creationId xmlns:a16="http://schemas.microsoft.com/office/drawing/2014/main" id="{240D1B0C-A412-7F40-8B98-DB7D5CFDB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52650" y="3137621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69" name="Graphic 68" descr="Add with solid fill">
              <a:extLst>
                <a:ext uri="{FF2B5EF4-FFF2-40B4-BE49-F238E27FC236}">
                  <a16:creationId xmlns:a16="http://schemas.microsoft.com/office/drawing/2014/main" id="{9D507DBE-24EB-434A-8C86-61D4B4C49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19716" y="3137621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63FB5FF-C5E7-F44A-A074-49FAC5338C55}"/>
              </a:ext>
            </a:extLst>
          </p:cNvPr>
          <p:cNvSpPr txBox="1"/>
          <p:nvPr/>
        </p:nvSpPr>
        <p:spPr>
          <a:xfrm>
            <a:off x="5483670" y="4315695"/>
            <a:ext cx="36603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ailable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ly in Dell EMC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Protect Data Manage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E7B365-730C-AC49-BC9A-16BD86DCA355}"/>
              </a:ext>
            </a:extLst>
          </p:cNvPr>
          <p:cNvGrpSpPr>
            <a:grpSpLocks noChangeAspect="1"/>
          </p:cNvGrpSpPr>
          <p:nvPr/>
        </p:nvGrpSpPr>
        <p:grpSpPr>
          <a:xfrm>
            <a:off x="7086600" y="1655608"/>
            <a:ext cx="457200" cy="457200"/>
            <a:chOff x="6449112" y="1316434"/>
            <a:chExt cx="777240" cy="77724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7A0E413-EE79-E04C-9FFA-DA746831E4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49112" y="1316434"/>
              <a:ext cx="777240" cy="777240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04D20A73-D4AE-914C-ABAD-8BD722DE55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09132" y="1476454"/>
              <a:ext cx="457201" cy="45720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F7A3CF3-96ED-764C-86BB-219DE06A46D3}"/>
              </a:ext>
            </a:extLst>
          </p:cNvPr>
          <p:cNvGrpSpPr>
            <a:grpSpLocks noChangeAspect="1"/>
          </p:cNvGrpSpPr>
          <p:nvPr/>
        </p:nvGrpSpPr>
        <p:grpSpPr>
          <a:xfrm>
            <a:off x="7086600" y="3239354"/>
            <a:ext cx="457200" cy="457200"/>
            <a:chOff x="6449112" y="2242482"/>
            <a:chExt cx="777240" cy="77724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1C104D3-084C-664E-A3C9-E8A0CE5BF0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49112" y="2242482"/>
              <a:ext cx="777240" cy="777240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2D759EAA-039B-2F47-843B-91D78E65B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609132" y="2402502"/>
              <a:ext cx="457201" cy="457200"/>
            </a:xfrm>
            <a:prstGeom prst="rect">
              <a:avLst/>
            </a:prstGeom>
          </p:spPr>
        </p:pic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0FE1A72B-01F0-964B-A6FE-B3345658FF9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65" t="25705" r="2792" b="27092"/>
          <a:stretch/>
        </p:blipFill>
        <p:spPr>
          <a:xfrm>
            <a:off x="6169194" y="3586962"/>
            <a:ext cx="2292007" cy="620648"/>
          </a:xfrm>
          <a:prstGeom prst="rect">
            <a:avLst/>
          </a:prstGeom>
          <a:effectLst/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810F7AC-76A3-B54D-9787-F900441923EA}"/>
              </a:ext>
            </a:extLst>
          </p:cNvPr>
          <p:cNvGrpSpPr/>
          <p:nvPr/>
        </p:nvGrpSpPr>
        <p:grpSpPr>
          <a:xfrm>
            <a:off x="6169197" y="2020688"/>
            <a:ext cx="2292006" cy="1293314"/>
            <a:chOff x="6169197" y="2020688"/>
            <a:chExt cx="2292006" cy="129331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8403F6F-A618-8F4A-B47E-470AA5192103}"/>
                </a:ext>
              </a:extLst>
            </p:cNvPr>
            <p:cNvSpPr/>
            <p:nvPr/>
          </p:nvSpPr>
          <p:spPr>
            <a:xfrm>
              <a:off x="6707310" y="2020689"/>
              <a:ext cx="1753893" cy="296107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Center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0D71B0F-3820-CA4E-84C3-6C3ABA397726}"/>
                </a:ext>
              </a:extLst>
            </p:cNvPr>
            <p:cNvSpPr/>
            <p:nvPr/>
          </p:nvSpPr>
          <p:spPr>
            <a:xfrm>
              <a:off x="6707310" y="2316796"/>
              <a:ext cx="1753893" cy="997206"/>
            </a:xfrm>
            <a:prstGeom prst="rect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rtlCol="0" anchor="t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X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AE6A36C-179D-5744-ADCB-65F638B2B4DE}"/>
                </a:ext>
              </a:extLst>
            </p:cNvPr>
            <p:cNvSpPr/>
            <p:nvPr/>
          </p:nvSpPr>
          <p:spPr>
            <a:xfrm rot="16200000">
              <a:off x="5791595" y="2398290"/>
              <a:ext cx="1293313" cy="53811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parent Snapshots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97935F7-9171-A745-A0A8-552103D2D2F4}"/>
                </a:ext>
              </a:extLst>
            </p:cNvPr>
            <p:cNvGrpSpPr/>
            <p:nvPr/>
          </p:nvGrpSpPr>
          <p:grpSpPr>
            <a:xfrm>
              <a:off x="6834191" y="2694509"/>
              <a:ext cx="1500131" cy="460580"/>
              <a:chOff x="6603943" y="2458789"/>
              <a:chExt cx="1500131" cy="460580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E6C0CEE4-882F-DD49-9EBB-9B8286F3BC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643494" y="2458789"/>
                <a:ext cx="460580" cy="460580"/>
              </a:xfrm>
              <a:prstGeom prst="rect">
                <a:avLst/>
              </a:prstGeom>
            </p:spPr>
          </p:pic>
          <p:pic>
            <p:nvPicPr>
              <p:cNvPr id="52" name="Picture 51">
                <a:extLst>
                  <a:ext uri="{FF2B5EF4-FFF2-40B4-BE49-F238E27FC236}">
                    <a16:creationId xmlns:a16="http://schemas.microsoft.com/office/drawing/2014/main" id="{F807FE16-04FB-6042-BD7B-25B54B500E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7123718" y="2458789"/>
                <a:ext cx="460580" cy="460580"/>
              </a:xfrm>
              <a:prstGeom prst="rect">
                <a:avLst/>
              </a:prstGeom>
            </p:spPr>
          </p:pic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FBDF953B-EB1F-7746-9F38-B3598205E7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603943" y="2458789"/>
                <a:ext cx="460580" cy="460580"/>
              </a:xfrm>
              <a:prstGeom prst="rect">
                <a:avLst/>
              </a:prstGeom>
            </p:spPr>
          </p:pic>
        </p:grp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C4EC083-1773-1748-A90F-985BEBD7460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61188" b="61188"/>
          <a:stretch/>
        </p:blipFill>
        <p:spPr>
          <a:xfrm>
            <a:off x="6169195" y="458473"/>
            <a:ext cx="2292007" cy="12892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909695-2347-49F9-9C5A-E19EA20AC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i="1"/>
              <a:t>F</a:t>
            </a:r>
            <a:r>
              <a:rPr lang="en-US" altLang="ja-JP" i="1">
                <a:solidFill>
                  <a:schemeClr val="tx2"/>
                </a:solidFill>
              </a:rPr>
              <a:t>rom19.9</a:t>
            </a:r>
            <a:r>
              <a:rPr lang="en-US" altLang="ja-JP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tx2"/>
                </a:solidFill>
              </a:rPr>
              <a:t>Transparent Snapshot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9DB10083-2E7E-4AEB-BA8B-4025DE7FE0A8}"/>
              </a:ext>
            </a:extLst>
          </p:cNvPr>
          <p:cNvSpPr txBox="1"/>
          <p:nvPr/>
        </p:nvSpPr>
        <p:spPr>
          <a:xfrm>
            <a:off x="1509298" y="4197308"/>
            <a:ext cx="27508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altLang="ja-JP" sz="1200" err="1">
                <a:solidFill>
                  <a:schemeClr val="tx2"/>
                </a:solidFill>
              </a:rPr>
              <a:t>ESXi</a:t>
            </a:r>
            <a:r>
              <a:rPr lang="en-US" altLang="ja-JP" sz="1200">
                <a:solidFill>
                  <a:schemeClr val="tx2"/>
                </a:solidFill>
              </a:rPr>
              <a:t>/vCenter 7.0U3~</a:t>
            </a:r>
            <a:endParaRPr kumimoji="1" lang="en-US" altLang="ja-JP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08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Left-Right Arrow 33">
            <a:extLst>
              <a:ext uri="{FF2B5EF4-FFF2-40B4-BE49-F238E27FC236}">
                <a16:creationId xmlns:a16="http://schemas.microsoft.com/office/drawing/2014/main" id="{507BDACD-1809-4CFA-A6B5-44D078408B37}"/>
              </a:ext>
            </a:extLst>
          </p:cNvPr>
          <p:cNvSpPr/>
          <p:nvPr/>
        </p:nvSpPr>
        <p:spPr>
          <a:xfrm>
            <a:off x="2527647" y="883880"/>
            <a:ext cx="6608262" cy="425962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7000">
                <a:schemeClr val="bg1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ctr" defTabSz="9143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799D31-2D99-4EA8-82AE-BE18C41B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>
            <a:normAutofit/>
          </a:bodyPr>
          <a:lstStyle/>
          <a:p>
            <a:r>
              <a:rPr lang="ja-JP" altLang="en-US" dirty="0">
                <a:latin typeface="+mn-ea"/>
                <a:ea typeface="+mn-ea"/>
              </a:rPr>
              <a:t>従来の</a:t>
            </a:r>
            <a:r>
              <a:rPr lang="en-US" altLang="ja-JP" dirty="0">
                <a:latin typeface="+mn-ea"/>
                <a:ea typeface="+mn-ea"/>
              </a:rPr>
              <a:t>VM</a:t>
            </a:r>
            <a:r>
              <a:rPr lang="ja-JP" altLang="en-US" dirty="0">
                <a:latin typeface="+mn-ea"/>
                <a:ea typeface="+mn-ea"/>
              </a:rPr>
              <a:t>イメージバックアップ構造</a:t>
            </a:r>
            <a:endParaRPr lang="en-US" dirty="0">
              <a:latin typeface="+mn-ea"/>
              <a:ea typeface="+mn-ea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9F0AC24-A0D4-464C-8014-C409DDCDCAE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810000" y="1055688"/>
            <a:ext cx="5334000" cy="37909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ja-JP" altLang="en-US" sz="2000" dirty="0">
                <a:solidFill>
                  <a:schemeClr val="tx2"/>
                </a:solidFill>
                <a:latin typeface="+mn-ea"/>
                <a:cs typeface="+mn-lt"/>
              </a:rPr>
              <a:t>スナップショット生成</a:t>
            </a:r>
            <a:endParaRPr lang="en-US" altLang="ja-JP" sz="1600" dirty="0">
              <a:solidFill>
                <a:schemeClr val="tx2"/>
              </a:solidFill>
              <a:latin typeface="+mn-ea"/>
              <a:cs typeface="+mn-lt"/>
            </a:endParaRPr>
          </a:p>
          <a:p>
            <a:pPr lvl="1"/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作成：最後に取得したスナップショット以降の</a:t>
            </a:r>
            <a:b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</a:b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デルタ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(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変更差分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)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を特定するため、特定の時点の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VMDK</a:t>
            </a:r>
            <a:b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</a:b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(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仮想マシンのスナップショット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)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を作成</a:t>
            </a:r>
            <a:endParaRPr lang="en-US" altLang="ja-JP" sz="1200" dirty="0">
              <a:solidFill>
                <a:schemeClr val="tx2"/>
              </a:solidFill>
              <a:latin typeface="+mn-ea"/>
              <a:cs typeface="+mn-lt"/>
            </a:endParaRPr>
          </a:p>
          <a:p>
            <a:pPr lvl="1"/>
            <a:endParaRPr lang="en-US" sz="1200" dirty="0">
              <a:solidFill>
                <a:schemeClr val="tx2"/>
              </a:solidFill>
              <a:latin typeface="+mn-ea"/>
              <a:cs typeface="Arial"/>
            </a:endParaRPr>
          </a:p>
          <a:p>
            <a:pPr marL="457200" indent="-457200">
              <a:buFont typeface="+mj-lt"/>
              <a:buAutoNum type="arabicPeriod"/>
            </a:pPr>
            <a:r>
              <a:rPr lang="ja-JP" altLang="en-US" sz="2000" dirty="0">
                <a:solidFill>
                  <a:schemeClr val="tx2"/>
                </a:solidFill>
                <a:latin typeface="+mn-ea"/>
                <a:cs typeface="+mn-lt"/>
              </a:rPr>
              <a:t>スナップショット処理（バックアップ）</a:t>
            </a:r>
            <a:endParaRPr lang="en-US" sz="2000" dirty="0">
              <a:solidFill>
                <a:schemeClr val="tx2"/>
              </a:solidFill>
              <a:latin typeface="+mn-ea"/>
              <a:cs typeface="Arial"/>
            </a:endParaRPr>
          </a:p>
          <a:p>
            <a:pPr lvl="1"/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デルタ生成：サードパーティエージェントが、</a:t>
            </a:r>
            <a:b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</a:b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外部保管先に送るデルタ情報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(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差分データ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)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を特定</a:t>
            </a:r>
            <a:endParaRPr lang="en-US" altLang="ja-JP" sz="1200" dirty="0">
              <a:solidFill>
                <a:schemeClr val="tx2"/>
              </a:solidFill>
              <a:latin typeface="+mn-ea"/>
              <a:cs typeface="+mn-lt"/>
            </a:endParaRPr>
          </a:p>
          <a:p>
            <a:pPr lvl="1"/>
            <a:endParaRPr lang="en-US" sz="1200" dirty="0">
              <a:solidFill>
                <a:schemeClr val="tx2"/>
              </a:solidFill>
              <a:latin typeface="+mn-ea"/>
              <a:cs typeface="Arial"/>
            </a:endParaRPr>
          </a:p>
          <a:p>
            <a:pPr lvl="1"/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データ転送：サードパーティエージェントが、</a:t>
            </a:r>
            <a:b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</a:b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特定したデルタ情報を外部保管先に転送</a:t>
            </a:r>
            <a:endParaRPr lang="en-US" altLang="ja-JP" sz="1200" dirty="0">
              <a:solidFill>
                <a:schemeClr val="tx2"/>
              </a:solidFill>
              <a:latin typeface="+mn-ea"/>
              <a:cs typeface="+mn-lt"/>
            </a:endParaRPr>
          </a:p>
          <a:p>
            <a:pPr lvl="1"/>
            <a:endParaRPr lang="en-US" sz="1200" dirty="0">
              <a:solidFill>
                <a:schemeClr val="tx2"/>
              </a:solidFill>
              <a:latin typeface="+mn-ea"/>
              <a:cs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ja-JP" altLang="en-US" sz="2000" dirty="0">
                <a:solidFill>
                  <a:schemeClr val="tx2"/>
                </a:solidFill>
                <a:latin typeface="+mn-ea"/>
                <a:cs typeface="+mn-lt"/>
              </a:rPr>
              <a:t>スナップショット削除</a:t>
            </a:r>
            <a:endParaRPr lang="en-US" sz="2000" dirty="0">
              <a:solidFill>
                <a:schemeClr val="tx2"/>
              </a:solidFill>
              <a:latin typeface="+mn-ea"/>
              <a:cs typeface="Arial"/>
            </a:endParaRPr>
          </a:p>
          <a:p>
            <a:pPr lvl="1"/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データ統合：仮想マシンとデルタ情報の</a:t>
            </a:r>
            <a:b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</a:b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マージ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(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データ統合</a:t>
            </a:r>
            <a:r>
              <a:rPr lang="en-US" altLang="ja-JP" sz="1200" dirty="0">
                <a:solidFill>
                  <a:schemeClr val="tx2"/>
                </a:solidFill>
                <a:latin typeface="+mn-ea"/>
                <a:cs typeface="+mn-lt"/>
              </a:rPr>
              <a:t>)</a:t>
            </a:r>
            <a:r>
              <a:rPr lang="ja-JP" altLang="en-US" sz="1200" dirty="0">
                <a:solidFill>
                  <a:schemeClr val="tx2"/>
                </a:solidFill>
                <a:latin typeface="+mn-ea"/>
                <a:cs typeface="+mn-lt"/>
              </a:rPr>
              <a:t>処理が行われる</a:t>
            </a:r>
            <a:endParaRPr lang="en-US" sz="1200" dirty="0">
              <a:latin typeface="+mn-ea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E89439D-4B6A-4217-A694-66BADEEA3C7F}"/>
              </a:ext>
            </a:extLst>
          </p:cNvPr>
          <p:cNvGrpSpPr/>
          <p:nvPr/>
        </p:nvGrpSpPr>
        <p:grpSpPr>
          <a:xfrm>
            <a:off x="784225" y="1194354"/>
            <a:ext cx="1753020" cy="3583159"/>
            <a:chOff x="260736" y="844998"/>
            <a:chExt cx="1739514" cy="355555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673FB63-3D65-45B4-96E7-7DB07348C73D}"/>
                </a:ext>
              </a:extLst>
            </p:cNvPr>
            <p:cNvSpPr/>
            <p:nvPr/>
          </p:nvSpPr>
          <p:spPr>
            <a:xfrm>
              <a:off x="618683" y="3445482"/>
              <a:ext cx="1086023" cy="457200"/>
            </a:xfrm>
            <a:prstGeom prst="rect">
              <a:avLst/>
            </a:prstGeom>
            <a:gradFill flip="none" rotWithShape="1">
              <a:gsLst>
                <a:gs pos="0">
                  <a:schemeClr val="dk1">
                    <a:lumMod val="67000"/>
                  </a:schemeClr>
                </a:gs>
                <a:gs pos="48000">
                  <a:schemeClr val="dk1">
                    <a:lumMod val="97000"/>
                    <a:lumOff val="3000"/>
                  </a:schemeClr>
                </a:gs>
                <a:gs pos="100000">
                  <a:schemeClr val="dk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</a:rPr>
                <a:t>エージェント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pic>
          <p:nvPicPr>
            <p:cNvPr id="24" name="Picture 2" descr="Vm Icon #398895 - Free Icons Library">
              <a:extLst>
                <a:ext uri="{FF2B5EF4-FFF2-40B4-BE49-F238E27FC236}">
                  <a16:creationId xmlns:a16="http://schemas.microsoft.com/office/drawing/2014/main" id="{459CBF0D-9B29-4D59-AA08-EB2ED36413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950" y="2850309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2" descr="Vm Icon #398895 - Free Icons Library">
              <a:extLst>
                <a:ext uri="{FF2B5EF4-FFF2-40B4-BE49-F238E27FC236}">
                  <a16:creationId xmlns:a16="http://schemas.microsoft.com/office/drawing/2014/main" id="{A9ED0B78-8AED-4990-9EE2-4F5755D79B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158" y="200025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Vm Icon #398895 - Free Icons Library">
              <a:extLst>
                <a:ext uri="{FF2B5EF4-FFF2-40B4-BE49-F238E27FC236}">
                  <a16:creationId xmlns:a16="http://schemas.microsoft.com/office/drawing/2014/main" id="{28C6F42F-7A2A-4005-83DD-9BC2397F00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94" y="1147416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EE50787-1C31-4A5F-B317-F162A748CD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750" y="844998"/>
              <a:ext cx="17145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CEA8722-F8CA-4831-8374-05C0E944D6C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8766" y="4400550"/>
              <a:ext cx="173148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772C70D-4641-4707-B060-F1BD0BA747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0736" y="844998"/>
              <a:ext cx="24746" cy="35555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3E0BE22-B0A2-4EA0-BA30-3702054ACC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71650" y="1028700"/>
              <a:ext cx="0" cy="12001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CC865AAF-1DCE-42D2-8221-4FA934D040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1500" y="1028700"/>
              <a:ext cx="0" cy="32004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2F9CDE3B-D878-4D8E-9171-684776B862FB}"/>
                </a:ext>
              </a:extLst>
            </p:cNvPr>
            <p:cNvCxnSpPr>
              <a:cxnSpLocks/>
            </p:cNvCxnSpPr>
            <p:nvPr/>
          </p:nvCxnSpPr>
          <p:spPr>
            <a:xfrm>
              <a:off x="558094" y="1028700"/>
              <a:ext cx="12135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AD478A6-E256-4798-B096-257E5ECA72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71650" y="3028950"/>
              <a:ext cx="0" cy="12001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A52ADF4-A921-426E-B74C-BFF19636FB97}"/>
                </a:ext>
              </a:extLst>
            </p:cNvPr>
            <p:cNvCxnSpPr>
              <a:cxnSpLocks/>
            </p:cNvCxnSpPr>
            <p:nvPr/>
          </p:nvCxnSpPr>
          <p:spPr>
            <a:xfrm>
              <a:off x="558094" y="4229100"/>
              <a:ext cx="12135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958C314-DFFE-415D-B612-87B613A0DE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0725" y="844998"/>
              <a:ext cx="0" cy="13838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E8683B8-67E6-4643-B8A3-DCA850A510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0725" y="3016698"/>
              <a:ext cx="0" cy="13838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Rectangle 22">
              <a:extLst>
                <a:ext uri="{FF2B5EF4-FFF2-40B4-BE49-F238E27FC236}">
                  <a16:creationId xmlns:a16="http://schemas.microsoft.com/office/drawing/2014/main" id="{419B5A73-CC01-45B7-AED5-2B22945735BA}"/>
                </a:ext>
              </a:extLst>
            </p:cNvPr>
            <p:cNvSpPr/>
            <p:nvPr/>
          </p:nvSpPr>
          <p:spPr>
            <a:xfrm>
              <a:off x="665459" y="3593257"/>
              <a:ext cx="1086023" cy="457200"/>
            </a:xfrm>
            <a:prstGeom prst="rect">
              <a:avLst/>
            </a:prstGeom>
            <a:gradFill flip="none" rotWithShape="1">
              <a:gsLst>
                <a:gs pos="0">
                  <a:schemeClr val="dk1">
                    <a:lumMod val="67000"/>
                  </a:schemeClr>
                </a:gs>
                <a:gs pos="48000">
                  <a:schemeClr val="dk1">
                    <a:lumMod val="97000"/>
                    <a:lumOff val="3000"/>
                  </a:schemeClr>
                </a:gs>
                <a:gs pos="100000">
                  <a:schemeClr val="dk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</a:rPr>
                <a:t>エージェント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  <p:sp>
          <p:nvSpPr>
            <p:cNvPr id="42" name="Rectangle 22">
              <a:extLst>
                <a:ext uri="{FF2B5EF4-FFF2-40B4-BE49-F238E27FC236}">
                  <a16:creationId xmlns:a16="http://schemas.microsoft.com/office/drawing/2014/main" id="{2B9523F5-591A-46D6-AF36-A9AFBE86068E}"/>
                </a:ext>
              </a:extLst>
            </p:cNvPr>
            <p:cNvSpPr/>
            <p:nvPr/>
          </p:nvSpPr>
          <p:spPr>
            <a:xfrm>
              <a:off x="732091" y="3724040"/>
              <a:ext cx="1086023" cy="457200"/>
            </a:xfrm>
            <a:prstGeom prst="rect">
              <a:avLst/>
            </a:prstGeom>
            <a:gradFill flip="none" rotWithShape="1">
              <a:gsLst>
                <a:gs pos="0">
                  <a:schemeClr val="dk1">
                    <a:lumMod val="67000"/>
                  </a:schemeClr>
                </a:gs>
                <a:gs pos="48000">
                  <a:schemeClr val="dk1">
                    <a:lumMod val="97000"/>
                    <a:lumOff val="3000"/>
                  </a:schemeClr>
                </a:gs>
                <a:gs pos="100000">
                  <a:schemeClr val="dk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ea"/>
                  <a:cs typeface="+mn-cs"/>
                </a:rPr>
                <a:t>エージェント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endParaRPr>
            </a:p>
          </p:txBody>
        </p:sp>
      </p:grp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3D516F1-ACB4-49DE-9B1B-55704D4CFFA6}"/>
              </a:ext>
            </a:extLst>
          </p:cNvPr>
          <p:cNvCxnSpPr>
            <a:cxnSpLocks/>
          </p:cNvCxnSpPr>
          <p:nvPr/>
        </p:nvCxnSpPr>
        <p:spPr>
          <a:xfrm>
            <a:off x="2046417" y="3029825"/>
            <a:ext cx="1094456" cy="7716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3AAFA67B-21D8-44D0-BE16-89A060CA64B3}"/>
              </a:ext>
            </a:extLst>
          </p:cNvPr>
          <p:cNvSpPr/>
          <p:nvPr/>
        </p:nvSpPr>
        <p:spPr>
          <a:xfrm>
            <a:off x="219885" y="583798"/>
            <a:ext cx="55354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ea"/>
                <a:cs typeface="+mn-cs"/>
              </a:rPr>
              <a:t>バックアップ処理におけるステップ（</a:t>
            </a:r>
            <a:r>
              <a:rPr kumimoji="0" lang="en-US" altLang="ja-JP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ea"/>
                <a:cs typeface="+mn-cs"/>
              </a:rPr>
              <a:t>vShpere</a:t>
            </a:r>
            <a:r>
              <a:rPr kumimoji="0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ea"/>
                <a:cs typeface="+mn-cs"/>
              </a:rPr>
              <a:t> API for Data Protection</a:t>
            </a: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ea"/>
                <a:cs typeface="+mn-cs"/>
              </a:rPr>
              <a:t>）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FB3191EA-4834-4B6B-9746-52CF6F6AACB0}"/>
              </a:ext>
            </a:extLst>
          </p:cNvPr>
          <p:cNvSpPr/>
          <p:nvPr/>
        </p:nvSpPr>
        <p:spPr>
          <a:xfrm>
            <a:off x="6865214" y="3735260"/>
            <a:ext cx="2173392" cy="397926"/>
          </a:xfrm>
          <a:prstGeom prst="rect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VM STUN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ea"/>
                <a:cs typeface="+mn-cs"/>
              </a:rPr>
              <a:t>がよく発生</a:t>
            </a:r>
          </a:p>
        </p:txBody>
      </p:sp>
      <p:sp>
        <p:nvSpPr>
          <p:cNvPr id="6" name="フローチャート: 磁気ディスク 5">
            <a:extLst>
              <a:ext uri="{FF2B5EF4-FFF2-40B4-BE49-F238E27FC236}">
                <a16:creationId xmlns:a16="http://schemas.microsoft.com/office/drawing/2014/main" id="{7C526DA3-9C9E-4818-8BDB-4DF903106DD8}"/>
              </a:ext>
            </a:extLst>
          </p:cNvPr>
          <p:cNvSpPr/>
          <p:nvPr/>
        </p:nvSpPr>
        <p:spPr>
          <a:xfrm>
            <a:off x="1744041" y="1937787"/>
            <a:ext cx="476966" cy="295960"/>
          </a:xfrm>
          <a:prstGeom prst="flowChartMagneticDisk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Snap</a:t>
            </a:r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5" name="フローチャート: 磁気ディスク 44">
            <a:extLst>
              <a:ext uri="{FF2B5EF4-FFF2-40B4-BE49-F238E27FC236}">
                <a16:creationId xmlns:a16="http://schemas.microsoft.com/office/drawing/2014/main" id="{4A54F3E1-E8B0-4860-AE3F-51ECFD42558D}"/>
              </a:ext>
            </a:extLst>
          </p:cNvPr>
          <p:cNvSpPr/>
          <p:nvPr/>
        </p:nvSpPr>
        <p:spPr>
          <a:xfrm>
            <a:off x="1744041" y="2741484"/>
            <a:ext cx="476966" cy="295960"/>
          </a:xfrm>
          <a:prstGeom prst="flowChartMagneticDisk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Snap</a:t>
            </a:r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46" name="フローチャート: 磁気ディスク 45">
            <a:extLst>
              <a:ext uri="{FF2B5EF4-FFF2-40B4-BE49-F238E27FC236}">
                <a16:creationId xmlns:a16="http://schemas.microsoft.com/office/drawing/2014/main" id="{B013D19E-EA62-4D35-9006-434C5A7BB345}"/>
              </a:ext>
            </a:extLst>
          </p:cNvPr>
          <p:cNvSpPr/>
          <p:nvPr/>
        </p:nvSpPr>
        <p:spPr>
          <a:xfrm>
            <a:off x="1744041" y="3553919"/>
            <a:ext cx="476966" cy="295960"/>
          </a:xfrm>
          <a:prstGeom prst="flowChartMagneticDisk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ea"/>
                <a:cs typeface="+mn-cs"/>
              </a:rPr>
              <a:t>Snap</a:t>
            </a:r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36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タイトル 3">
            <a:extLst>
              <a:ext uri="{FF2B5EF4-FFF2-40B4-BE49-F238E27FC236}">
                <a16:creationId xmlns:a16="http://schemas.microsoft.com/office/drawing/2014/main" id="{31673B59-F110-481A-80A7-39F4E7E05A1B}"/>
              </a:ext>
            </a:extLst>
          </p:cNvPr>
          <p:cNvSpPr txBox="1">
            <a:spLocks/>
          </p:cNvSpPr>
          <p:nvPr/>
        </p:nvSpPr>
        <p:spPr>
          <a:xfrm>
            <a:off x="285750" y="228604"/>
            <a:ext cx="8572500" cy="3985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defTabSz="685766">
              <a:defRPr/>
            </a:pPr>
            <a:r>
              <a:rPr lang="en-US" altLang="ja-JP">
                <a:solidFill>
                  <a:srgbClr val="FFFFFF"/>
                </a:solidFill>
                <a:ea typeface="メイリオ"/>
              </a:rPr>
              <a:t>Dell Technologies </a:t>
            </a:r>
            <a:r>
              <a:rPr lang="ja-JP" altLang="en-US">
                <a:solidFill>
                  <a:srgbClr val="FFFFFF"/>
                </a:solidFill>
                <a:ea typeface="メイリオ"/>
              </a:rPr>
              <a:t>データ保護ポートフォリオ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EFE77D86-6EC3-4608-B9AF-ABAD40ED4EC1}"/>
              </a:ext>
            </a:extLst>
          </p:cNvPr>
          <p:cNvSpPr/>
          <p:nvPr/>
        </p:nvSpPr>
        <p:spPr>
          <a:xfrm>
            <a:off x="6123165" y="792276"/>
            <a:ext cx="2812312" cy="3821677"/>
          </a:xfrm>
          <a:prstGeom prst="rect">
            <a:avLst/>
          </a:prstGeom>
          <a:solidFill>
            <a:srgbClr val="000000">
              <a:alpha val="70000"/>
            </a:srgbClr>
          </a:solidFill>
          <a:ln w="6350" cap="flat" cmpd="sng" algn="ctr">
            <a:solidFill>
              <a:srgbClr val="FFFFFF">
                <a:lumMod val="50000"/>
                <a:alpha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10">
              <a:defRPr/>
            </a:pPr>
            <a:endParaRPr lang="en-US" sz="1600" kern="0">
              <a:solidFill>
                <a:srgbClr val="000000"/>
              </a:solidFill>
              <a:ea typeface="メイリオ"/>
              <a:cs typeface="Arial"/>
            </a:endParaRPr>
          </a:p>
        </p:txBody>
      </p:sp>
      <p:sp>
        <p:nvSpPr>
          <p:cNvPr id="41" name="Rectangle 17">
            <a:extLst>
              <a:ext uri="{FF2B5EF4-FFF2-40B4-BE49-F238E27FC236}">
                <a16:creationId xmlns:a16="http://schemas.microsoft.com/office/drawing/2014/main" id="{F9289072-E626-4B29-92C3-A060B3A130BF}"/>
              </a:ext>
            </a:extLst>
          </p:cNvPr>
          <p:cNvSpPr/>
          <p:nvPr/>
        </p:nvSpPr>
        <p:spPr>
          <a:xfrm>
            <a:off x="6123165" y="2109626"/>
            <a:ext cx="2812312" cy="2504327"/>
          </a:xfrm>
          <a:prstGeom prst="rect">
            <a:avLst/>
          </a:prstGeom>
          <a:solidFill>
            <a:srgbClr val="FFFFFF">
              <a:alpha val="8000"/>
            </a:srgbClr>
          </a:solidFill>
          <a:ln w="6350" cap="flat" cmpd="sng" algn="ctr">
            <a:solidFill>
              <a:srgbClr val="FFFFFF">
                <a:alpha val="56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10">
              <a:defRPr/>
            </a:pPr>
            <a:endParaRPr lang="en-US" sz="1600" kern="0">
              <a:solidFill>
                <a:srgbClr val="000000"/>
              </a:solidFill>
              <a:ea typeface="メイリオ"/>
              <a:cs typeface="Arial"/>
            </a:endParaRPr>
          </a:p>
        </p:txBody>
      </p:sp>
      <p:cxnSp>
        <p:nvCxnSpPr>
          <p:cNvPr id="43" name="Straight Connector 23">
            <a:extLst>
              <a:ext uri="{FF2B5EF4-FFF2-40B4-BE49-F238E27FC236}">
                <a16:creationId xmlns:a16="http://schemas.microsoft.com/office/drawing/2014/main" id="{1AD449D4-A204-405B-AA1E-8C9BA874730D}"/>
              </a:ext>
            </a:extLst>
          </p:cNvPr>
          <p:cNvCxnSpPr>
            <a:cxnSpLocks/>
          </p:cNvCxnSpPr>
          <p:nvPr/>
        </p:nvCxnSpPr>
        <p:spPr>
          <a:xfrm>
            <a:off x="6359320" y="3130176"/>
            <a:ext cx="2340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alpha val="35000"/>
              </a:srgbClr>
            </a:solidFill>
            <a:prstDash val="solid"/>
            <a:miter lim="800000"/>
          </a:ln>
          <a:effectLst/>
        </p:spPr>
      </p:cxnSp>
      <p:sp>
        <p:nvSpPr>
          <p:cNvPr id="46" name="TextBox 10">
            <a:extLst>
              <a:ext uri="{FF2B5EF4-FFF2-40B4-BE49-F238E27FC236}">
                <a16:creationId xmlns:a16="http://schemas.microsoft.com/office/drawing/2014/main" id="{B8DB3938-03FE-493A-9C2C-3B709C2CFEE4}"/>
              </a:ext>
            </a:extLst>
          </p:cNvPr>
          <p:cNvSpPr txBox="1"/>
          <p:nvPr/>
        </p:nvSpPr>
        <p:spPr>
          <a:xfrm>
            <a:off x="6129635" y="2669737"/>
            <a:ext cx="2799375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310">
              <a:spcAft>
                <a:spcPts val="800"/>
              </a:spcAft>
              <a:buClr>
                <a:srgbClr val="0076CE"/>
              </a:buClr>
              <a:defRPr/>
            </a:pPr>
            <a:r>
              <a:rPr lang="en-US" sz="1800" kern="0">
                <a:solidFill>
                  <a:srgbClr val="FFFFFF"/>
                </a:solidFill>
                <a:ea typeface="メイリオ"/>
                <a:cs typeface="Arial"/>
              </a:rPr>
              <a:t>Power Protect Software</a:t>
            </a:r>
          </a:p>
        </p:txBody>
      </p:sp>
      <p:pic>
        <p:nvPicPr>
          <p:cNvPr id="47" name="Picture 49">
            <a:extLst>
              <a:ext uri="{FF2B5EF4-FFF2-40B4-BE49-F238E27FC236}">
                <a16:creationId xmlns:a16="http://schemas.microsoft.com/office/drawing/2014/main" id="{8A9E1F0D-4CD5-4096-B45C-2A98B10076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7541" y="1705013"/>
            <a:ext cx="1443558" cy="800843"/>
          </a:xfrm>
          <a:prstGeom prst="rect">
            <a:avLst/>
          </a:prstGeom>
        </p:spPr>
      </p:pic>
      <p:sp>
        <p:nvSpPr>
          <p:cNvPr id="48" name="Rectangle 17">
            <a:extLst>
              <a:ext uri="{FF2B5EF4-FFF2-40B4-BE49-F238E27FC236}">
                <a16:creationId xmlns:a16="http://schemas.microsoft.com/office/drawing/2014/main" id="{5813D1EA-3696-4F7B-B34E-016E659B1E70}"/>
              </a:ext>
            </a:extLst>
          </p:cNvPr>
          <p:cNvSpPr/>
          <p:nvPr/>
        </p:nvSpPr>
        <p:spPr>
          <a:xfrm>
            <a:off x="323529" y="792276"/>
            <a:ext cx="2812312" cy="3821677"/>
          </a:xfrm>
          <a:prstGeom prst="rect">
            <a:avLst/>
          </a:prstGeom>
          <a:solidFill>
            <a:srgbClr val="000000">
              <a:alpha val="70000"/>
            </a:srgbClr>
          </a:solidFill>
          <a:ln w="6350" cap="flat" cmpd="sng" algn="ctr">
            <a:solidFill>
              <a:srgbClr val="FFFFFF">
                <a:lumMod val="50000"/>
                <a:alpha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49">
              <a:defRPr/>
            </a:pPr>
            <a:endParaRPr lang="en-US" sz="1600" kern="0">
              <a:solidFill>
                <a:srgbClr val="000000"/>
              </a:solidFill>
              <a:latin typeface="Arial"/>
              <a:ea typeface="メイリオ"/>
            </a:endParaRPr>
          </a:p>
        </p:txBody>
      </p:sp>
      <p:sp>
        <p:nvSpPr>
          <p:cNvPr id="49" name="Rectangle 17">
            <a:extLst>
              <a:ext uri="{FF2B5EF4-FFF2-40B4-BE49-F238E27FC236}">
                <a16:creationId xmlns:a16="http://schemas.microsoft.com/office/drawing/2014/main" id="{E016EFB8-0ED7-4EAC-9C30-B735F02141C4}"/>
              </a:ext>
            </a:extLst>
          </p:cNvPr>
          <p:cNvSpPr/>
          <p:nvPr/>
        </p:nvSpPr>
        <p:spPr>
          <a:xfrm>
            <a:off x="332427" y="2067652"/>
            <a:ext cx="2812312" cy="2504327"/>
          </a:xfrm>
          <a:prstGeom prst="rect">
            <a:avLst/>
          </a:prstGeom>
          <a:solidFill>
            <a:srgbClr val="FFFFFF">
              <a:alpha val="8000"/>
            </a:srgbClr>
          </a:solidFill>
          <a:ln w="6350" cap="flat" cmpd="sng" algn="ctr">
            <a:solidFill>
              <a:srgbClr val="FFFFFF">
                <a:alpha val="56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49">
              <a:defRPr/>
            </a:pPr>
            <a:endParaRPr lang="en-US" sz="1600" kern="0">
              <a:solidFill>
                <a:srgbClr val="000000"/>
              </a:solidFill>
              <a:latin typeface="Arial"/>
              <a:ea typeface="メイリオ"/>
            </a:endParaRPr>
          </a:p>
        </p:txBody>
      </p:sp>
      <p:sp>
        <p:nvSpPr>
          <p:cNvPr id="53" name="TextBox 22">
            <a:extLst>
              <a:ext uri="{FF2B5EF4-FFF2-40B4-BE49-F238E27FC236}">
                <a16:creationId xmlns:a16="http://schemas.microsoft.com/office/drawing/2014/main" id="{8AF068FE-3AAD-483C-BB40-D1FAED90A398}"/>
              </a:ext>
            </a:extLst>
          </p:cNvPr>
          <p:cNvSpPr txBox="1"/>
          <p:nvPr/>
        </p:nvSpPr>
        <p:spPr>
          <a:xfrm>
            <a:off x="332430" y="2669737"/>
            <a:ext cx="279451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sz="1800">
                <a:solidFill>
                  <a:srgbClr val="FFFFFF"/>
                </a:solidFill>
                <a:ea typeface="メイリオ"/>
              </a:rPr>
              <a:t>Data Protection Suite</a:t>
            </a:r>
          </a:p>
        </p:txBody>
      </p:sp>
      <p:cxnSp>
        <p:nvCxnSpPr>
          <p:cNvPr id="54" name="Straight Connector 23">
            <a:extLst>
              <a:ext uri="{FF2B5EF4-FFF2-40B4-BE49-F238E27FC236}">
                <a16:creationId xmlns:a16="http://schemas.microsoft.com/office/drawing/2014/main" id="{5EE7A0F4-67F5-416C-8123-8D40109315E2}"/>
              </a:ext>
            </a:extLst>
          </p:cNvPr>
          <p:cNvCxnSpPr>
            <a:cxnSpLocks/>
          </p:cNvCxnSpPr>
          <p:nvPr/>
        </p:nvCxnSpPr>
        <p:spPr>
          <a:xfrm>
            <a:off x="559684" y="3129839"/>
            <a:ext cx="2340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alpha val="35000"/>
              </a:srgbClr>
            </a:solidFill>
            <a:prstDash val="solid"/>
            <a:miter lim="800000"/>
          </a:ln>
          <a:effectLst/>
        </p:spPr>
      </p:cxnSp>
      <p:sp>
        <p:nvSpPr>
          <p:cNvPr id="55" name="TextBox 25">
            <a:extLst>
              <a:ext uri="{FF2B5EF4-FFF2-40B4-BE49-F238E27FC236}">
                <a16:creationId xmlns:a16="http://schemas.microsoft.com/office/drawing/2014/main" id="{A9063CBC-15F2-436D-BE3F-4F83A1BA9523}"/>
              </a:ext>
            </a:extLst>
          </p:cNvPr>
          <p:cNvSpPr txBox="1"/>
          <p:nvPr/>
        </p:nvSpPr>
        <p:spPr>
          <a:xfrm>
            <a:off x="332427" y="3096868"/>
            <a:ext cx="279451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altLang="ja-JP" sz="1800">
                <a:solidFill>
                  <a:srgbClr val="FFFFFF"/>
                </a:solidFill>
                <a:ea typeface="メイリオ"/>
              </a:rPr>
              <a:t>Power</a:t>
            </a:r>
            <a:r>
              <a:rPr lang="ja-JP" altLang="en-US" sz="1800">
                <a:solidFill>
                  <a:srgbClr val="FFFFFF"/>
                </a:solidFill>
                <a:ea typeface="メイリオ"/>
              </a:rPr>
              <a:t> </a:t>
            </a:r>
            <a:r>
              <a:rPr lang="en-US" altLang="ja-JP" sz="1800">
                <a:solidFill>
                  <a:srgbClr val="FFFFFF"/>
                </a:solidFill>
                <a:ea typeface="メイリオ"/>
              </a:rPr>
              <a:t>Protect DD</a:t>
            </a:r>
            <a:endParaRPr lang="en-US" sz="1800">
              <a:solidFill>
                <a:srgbClr val="FFFFFF"/>
              </a:solidFill>
              <a:ea typeface="メイリオ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A956EA07-3CB1-485C-A0A1-D8C20DC2D7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758" y="1705009"/>
            <a:ext cx="1433861" cy="800054"/>
          </a:xfrm>
          <a:prstGeom prst="rect">
            <a:avLst/>
          </a:prstGeom>
        </p:spPr>
      </p:pic>
      <p:sp>
        <p:nvSpPr>
          <p:cNvPr id="57" name="Rectangle 17">
            <a:extLst>
              <a:ext uri="{FF2B5EF4-FFF2-40B4-BE49-F238E27FC236}">
                <a16:creationId xmlns:a16="http://schemas.microsoft.com/office/drawing/2014/main" id="{D48F0B89-C228-4F79-B96A-0BA426C1C53C}"/>
              </a:ext>
            </a:extLst>
          </p:cNvPr>
          <p:cNvSpPr/>
          <p:nvPr/>
        </p:nvSpPr>
        <p:spPr>
          <a:xfrm>
            <a:off x="3223347" y="792493"/>
            <a:ext cx="2812312" cy="3816206"/>
          </a:xfrm>
          <a:prstGeom prst="rect">
            <a:avLst/>
          </a:prstGeom>
          <a:solidFill>
            <a:srgbClr val="000000">
              <a:alpha val="70000"/>
            </a:srgbClr>
          </a:solidFill>
          <a:ln w="6350" cap="flat" cmpd="sng" algn="ctr">
            <a:solidFill>
              <a:srgbClr val="FFFFFF">
                <a:lumMod val="50000"/>
                <a:alpha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49">
              <a:defRPr/>
            </a:pPr>
            <a:endParaRPr lang="en-US" sz="1600" kern="0">
              <a:solidFill>
                <a:srgbClr val="000000"/>
              </a:solidFill>
              <a:latin typeface="Arial"/>
              <a:ea typeface="メイリオ"/>
            </a:endParaRPr>
          </a:p>
        </p:txBody>
      </p:sp>
      <p:sp>
        <p:nvSpPr>
          <p:cNvPr id="58" name="Rectangle 17">
            <a:extLst>
              <a:ext uri="{FF2B5EF4-FFF2-40B4-BE49-F238E27FC236}">
                <a16:creationId xmlns:a16="http://schemas.microsoft.com/office/drawing/2014/main" id="{BB166A89-0A3A-4246-A6B3-D0E9F3931623}"/>
              </a:ext>
            </a:extLst>
          </p:cNvPr>
          <p:cNvSpPr/>
          <p:nvPr/>
        </p:nvSpPr>
        <p:spPr>
          <a:xfrm>
            <a:off x="3223347" y="2104373"/>
            <a:ext cx="2812312" cy="2504327"/>
          </a:xfrm>
          <a:prstGeom prst="rect">
            <a:avLst/>
          </a:prstGeom>
          <a:solidFill>
            <a:srgbClr val="FFFFFF">
              <a:alpha val="8000"/>
            </a:srgbClr>
          </a:solidFill>
          <a:ln w="6350" cap="flat" cmpd="sng" algn="ctr">
            <a:solidFill>
              <a:srgbClr val="FFFFFF">
                <a:alpha val="56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49">
              <a:defRPr/>
            </a:pPr>
            <a:endParaRPr lang="en-US" sz="1600" kern="0">
              <a:solidFill>
                <a:srgbClr val="000000"/>
              </a:solidFill>
              <a:latin typeface="Arial"/>
              <a:ea typeface="メイリオ"/>
            </a:endParaRPr>
          </a:p>
        </p:txBody>
      </p:sp>
      <p:pic>
        <p:nvPicPr>
          <p:cNvPr id="59" name="Picture 33">
            <a:extLst>
              <a:ext uri="{FF2B5EF4-FFF2-40B4-BE49-F238E27FC236}">
                <a16:creationId xmlns:a16="http://schemas.microsoft.com/office/drawing/2014/main" id="{D411B093-2E5A-470A-A59D-06FEAA2271D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3560" y="3888874"/>
            <a:ext cx="2266029" cy="320516"/>
          </a:xfrm>
          <a:prstGeom prst="rect">
            <a:avLst/>
          </a:prstGeom>
        </p:spPr>
      </p:pic>
      <p:sp>
        <p:nvSpPr>
          <p:cNvPr id="61" name="TextBox 27">
            <a:extLst>
              <a:ext uri="{FF2B5EF4-FFF2-40B4-BE49-F238E27FC236}">
                <a16:creationId xmlns:a16="http://schemas.microsoft.com/office/drawing/2014/main" id="{F0028A3B-F5B4-409E-BEB5-DBD044101830}"/>
              </a:ext>
            </a:extLst>
          </p:cNvPr>
          <p:cNvSpPr txBox="1"/>
          <p:nvPr/>
        </p:nvSpPr>
        <p:spPr>
          <a:xfrm>
            <a:off x="3225248" y="2508168"/>
            <a:ext cx="2781579" cy="140551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altLang="ja-JP" sz="1800">
                <a:solidFill>
                  <a:srgbClr val="FFFFFF"/>
                </a:solidFill>
                <a:ea typeface="メイリオ"/>
              </a:rPr>
              <a:t>Integrated Data Protection Appliance</a:t>
            </a:r>
          </a:p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altLang="ja-JP" sz="1800" err="1">
                <a:solidFill>
                  <a:srgbClr val="FFFFFF"/>
                </a:solidFill>
                <a:ea typeface="メイリオ"/>
              </a:rPr>
              <a:t>PowerProtect</a:t>
            </a:r>
            <a:r>
              <a:rPr lang="en-US" altLang="ja-JP" sz="1800">
                <a:solidFill>
                  <a:srgbClr val="FFFFFF"/>
                </a:solidFill>
                <a:ea typeface="メイリオ"/>
              </a:rPr>
              <a:t> </a:t>
            </a:r>
            <a:r>
              <a:rPr lang="ja-JP" altLang="en-US" sz="1800">
                <a:solidFill>
                  <a:srgbClr val="FFFFFF"/>
                </a:solidFill>
                <a:ea typeface="メイリオ"/>
              </a:rPr>
              <a:t> </a:t>
            </a:r>
            <a:r>
              <a:rPr lang="en-US" altLang="ja-JP" sz="1800">
                <a:solidFill>
                  <a:srgbClr val="FFFFFF"/>
                </a:solidFill>
                <a:ea typeface="メイリオ"/>
              </a:rPr>
              <a:t>DP4400</a:t>
            </a:r>
          </a:p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altLang="ja-JP" sz="1800" err="1">
                <a:solidFill>
                  <a:srgbClr val="FFFFFF"/>
                </a:solidFill>
                <a:ea typeface="メイリオ"/>
              </a:rPr>
              <a:t>PowerProtect</a:t>
            </a:r>
            <a:r>
              <a:rPr lang="en-US" altLang="ja-JP" sz="1800">
                <a:solidFill>
                  <a:srgbClr val="FFFFFF"/>
                </a:solidFill>
                <a:ea typeface="メイリオ"/>
              </a:rPr>
              <a:t> DM5500</a:t>
            </a:r>
            <a:endParaRPr lang="en-US" sz="1800">
              <a:solidFill>
                <a:srgbClr val="FFFFFF"/>
              </a:solidFill>
              <a:ea typeface="メイリオ"/>
            </a:endParaRPr>
          </a:p>
        </p:txBody>
      </p:sp>
      <p:cxnSp>
        <p:nvCxnSpPr>
          <p:cNvPr id="62" name="Straight Connector 35">
            <a:extLst>
              <a:ext uri="{FF2B5EF4-FFF2-40B4-BE49-F238E27FC236}">
                <a16:creationId xmlns:a16="http://schemas.microsoft.com/office/drawing/2014/main" id="{8E162679-473A-4E0F-A8AE-D834AE942C61}"/>
              </a:ext>
            </a:extLst>
          </p:cNvPr>
          <p:cNvCxnSpPr>
            <a:cxnSpLocks/>
          </p:cNvCxnSpPr>
          <p:nvPr/>
        </p:nvCxnSpPr>
        <p:spPr>
          <a:xfrm>
            <a:off x="5474687" y="3124921"/>
            <a:ext cx="324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alpha val="35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Straight Connector 37">
            <a:extLst>
              <a:ext uri="{FF2B5EF4-FFF2-40B4-BE49-F238E27FC236}">
                <a16:creationId xmlns:a16="http://schemas.microsoft.com/office/drawing/2014/main" id="{E9578F35-BD8F-49B1-8422-832850FD579E}"/>
              </a:ext>
            </a:extLst>
          </p:cNvPr>
          <p:cNvCxnSpPr>
            <a:cxnSpLocks/>
          </p:cNvCxnSpPr>
          <p:nvPr/>
        </p:nvCxnSpPr>
        <p:spPr>
          <a:xfrm>
            <a:off x="3422439" y="3124921"/>
            <a:ext cx="324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alpha val="35000"/>
              </a:srgbClr>
            </a:solidFill>
            <a:prstDash val="solid"/>
            <a:miter lim="800000"/>
          </a:ln>
          <a:effectLst/>
        </p:spPr>
      </p:cxnSp>
      <p:sp>
        <p:nvSpPr>
          <p:cNvPr id="64" name="TextBox 22">
            <a:extLst>
              <a:ext uri="{FF2B5EF4-FFF2-40B4-BE49-F238E27FC236}">
                <a16:creationId xmlns:a16="http://schemas.microsoft.com/office/drawing/2014/main" id="{1BE6A453-9536-4166-8127-ADAE58C8CD19}"/>
              </a:ext>
            </a:extLst>
          </p:cNvPr>
          <p:cNvSpPr txBox="1"/>
          <p:nvPr/>
        </p:nvSpPr>
        <p:spPr>
          <a:xfrm>
            <a:off x="5843239" y="989133"/>
            <a:ext cx="336140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ja-JP" altLang="en-US" sz="1400">
                <a:solidFill>
                  <a:srgbClr val="FFFFFF"/>
                </a:solidFill>
                <a:ea typeface="メイリオ"/>
              </a:rPr>
              <a:t>デジタル変革時代を見据えた</a:t>
            </a:r>
            <a:br>
              <a:rPr lang="en-US" altLang="ja-JP" sz="1400">
                <a:solidFill>
                  <a:srgbClr val="FFFFFF"/>
                </a:solidFill>
                <a:ea typeface="メイリオ"/>
              </a:rPr>
            </a:br>
            <a:r>
              <a:rPr lang="ja-JP" altLang="en-US" sz="1400">
                <a:solidFill>
                  <a:srgbClr val="FFFFFF"/>
                </a:solidFill>
                <a:ea typeface="メイリオ"/>
              </a:rPr>
              <a:t>最新データ管理プラットフォーム</a:t>
            </a:r>
            <a:endParaRPr lang="en-US" altLang="ja-JP" sz="1400">
              <a:solidFill>
                <a:srgbClr val="FFFFFF"/>
              </a:solidFill>
              <a:ea typeface="メイリオ"/>
            </a:endParaRPr>
          </a:p>
        </p:txBody>
      </p:sp>
      <p:sp>
        <p:nvSpPr>
          <p:cNvPr id="65" name="TextBox 22">
            <a:extLst>
              <a:ext uri="{FF2B5EF4-FFF2-40B4-BE49-F238E27FC236}">
                <a16:creationId xmlns:a16="http://schemas.microsoft.com/office/drawing/2014/main" id="{5ABED8E9-62A6-4A23-BB83-90BCE1E5603B}"/>
              </a:ext>
            </a:extLst>
          </p:cNvPr>
          <p:cNvSpPr txBox="1"/>
          <p:nvPr/>
        </p:nvSpPr>
        <p:spPr>
          <a:xfrm>
            <a:off x="2965873" y="989137"/>
            <a:ext cx="336140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ja-JP" altLang="en-US" sz="1400">
                <a:solidFill>
                  <a:srgbClr val="FFFFFF"/>
                </a:solidFill>
                <a:ea typeface="メイリオ"/>
              </a:rPr>
              <a:t>いま必要なデータ保護を</a:t>
            </a:r>
            <a:br>
              <a:rPr lang="en-US" altLang="ja-JP" sz="1400">
                <a:solidFill>
                  <a:srgbClr val="FFFFFF"/>
                </a:solidFill>
                <a:ea typeface="メイリオ"/>
              </a:rPr>
            </a:br>
            <a:r>
              <a:rPr lang="ja-JP" altLang="en-US" sz="1400">
                <a:solidFill>
                  <a:srgbClr val="FFFFFF"/>
                </a:solidFill>
                <a:ea typeface="メイリオ"/>
              </a:rPr>
              <a:t>コンバージド・インフラで</a:t>
            </a:r>
            <a:endParaRPr lang="en-US" altLang="ja-JP" sz="1400">
              <a:solidFill>
                <a:srgbClr val="FFFFFF"/>
              </a:solidFill>
              <a:ea typeface="メイリオ"/>
            </a:endParaRPr>
          </a:p>
        </p:txBody>
      </p:sp>
      <p:sp>
        <p:nvSpPr>
          <p:cNvPr id="66" name="TextBox 22">
            <a:extLst>
              <a:ext uri="{FF2B5EF4-FFF2-40B4-BE49-F238E27FC236}">
                <a16:creationId xmlns:a16="http://schemas.microsoft.com/office/drawing/2014/main" id="{E5453092-76B9-4AF9-BF45-E59976820F1F}"/>
              </a:ext>
            </a:extLst>
          </p:cNvPr>
          <p:cNvSpPr txBox="1"/>
          <p:nvPr/>
        </p:nvSpPr>
        <p:spPr>
          <a:xfrm>
            <a:off x="45169" y="989133"/>
            <a:ext cx="336140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ja-JP" altLang="en-US" sz="1400">
                <a:solidFill>
                  <a:srgbClr val="FFFFFF"/>
                </a:solidFill>
                <a:ea typeface="メイリオ"/>
              </a:rPr>
              <a:t>多彩なデータ保護要件を満たす</a:t>
            </a:r>
            <a:br>
              <a:rPr lang="en-US" altLang="ja-JP" sz="1400">
                <a:solidFill>
                  <a:srgbClr val="FFFFFF"/>
                </a:solidFill>
                <a:ea typeface="メイリオ"/>
              </a:rPr>
            </a:br>
            <a:r>
              <a:rPr lang="en-US" altLang="ja-JP" sz="1400">
                <a:solidFill>
                  <a:srgbClr val="FFFFFF"/>
                </a:solidFill>
                <a:ea typeface="メイリオ"/>
              </a:rPr>
              <a:t>Dell Technologies</a:t>
            </a:r>
            <a:r>
              <a:rPr lang="ja-JP" altLang="en-US" sz="1400">
                <a:solidFill>
                  <a:srgbClr val="FFFFFF"/>
                </a:solidFill>
                <a:ea typeface="メイリオ"/>
              </a:rPr>
              <a:t>データ保護の</a:t>
            </a:r>
            <a:r>
              <a:rPr lang="en-US" altLang="ja-JP" sz="1400">
                <a:solidFill>
                  <a:srgbClr val="FFFFFF"/>
                </a:solidFill>
                <a:ea typeface="メイリオ"/>
              </a:rPr>
              <a:t>DNA</a:t>
            </a:r>
          </a:p>
        </p:txBody>
      </p:sp>
      <p:sp>
        <p:nvSpPr>
          <p:cNvPr id="67" name="平行四辺形 66">
            <a:extLst>
              <a:ext uri="{FF2B5EF4-FFF2-40B4-BE49-F238E27FC236}">
                <a16:creationId xmlns:a16="http://schemas.microsoft.com/office/drawing/2014/main" id="{C63B13EC-4F4D-4418-A0DD-0D4E81653106}"/>
              </a:ext>
            </a:extLst>
          </p:cNvPr>
          <p:cNvSpPr/>
          <p:nvPr/>
        </p:nvSpPr>
        <p:spPr>
          <a:xfrm>
            <a:off x="395536" y="4478823"/>
            <a:ext cx="5544000" cy="252000"/>
          </a:xfrm>
          <a:prstGeom prst="parallelogram">
            <a:avLst/>
          </a:prstGeom>
          <a:gradFill flip="none" rotWithShape="1">
            <a:gsLst>
              <a:gs pos="0">
                <a:srgbClr val="41B6E6">
                  <a:lumMod val="67000"/>
                </a:srgbClr>
              </a:gs>
              <a:gs pos="48000">
                <a:srgbClr val="41B6E6">
                  <a:lumMod val="97000"/>
                  <a:lumOff val="3000"/>
                </a:srgbClr>
              </a:gs>
              <a:gs pos="100000">
                <a:srgbClr val="41B6E6">
                  <a:lumMod val="60000"/>
                  <a:lumOff val="40000"/>
                </a:srgbClr>
              </a:gs>
            </a:gsLst>
            <a:lin ang="16200000" scaled="1"/>
            <a:tileRect/>
          </a:gradFill>
          <a:ln w="12700" cmpd="sng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 defTabSz="685749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altLang="ja-JP" sz="1600" b="1" i="1" kern="0">
                <a:solidFill>
                  <a:srgbClr val="FFFFFF"/>
                </a:solidFill>
                <a:ea typeface="メイリオ"/>
              </a:rPr>
              <a:t>Proven</a:t>
            </a:r>
            <a:r>
              <a:rPr lang="ja-JP" altLang="en-US" sz="1600" b="1" i="1" kern="0">
                <a:solidFill>
                  <a:srgbClr val="FFFFFF"/>
                </a:solidFill>
                <a:ea typeface="メイリオ"/>
              </a:rPr>
              <a:t> </a:t>
            </a:r>
            <a:r>
              <a:rPr lang="en-US" altLang="ja-JP" sz="1600" b="1" i="1" kern="0">
                <a:solidFill>
                  <a:srgbClr val="FFFFFF"/>
                </a:solidFill>
                <a:ea typeface="メイリオ"/>
              </a:rPr>
              <a:t>(</a:t>
            </a:r>
            <a:r>
              <a:rPr lang="ja-JP" altLang="en-US" sz="1400" b="1" i="1" kern="0">
                <a:solidFill>
                  <a:srgbClr val="FFFFFF"/>
                </a:solidFill>
                <a:ea typeface="メイリオ"/>
              </a:rPr>
              <a:t>実証済み</a:t>
            </a:r>
            <a:r>
              <a:rPr lang="en-US" altLang="ja-JP" sz="1600" b="1" i="1" kern="0">
                <a:solidFill>
                  <a:srgbClr val="FFFFFF"/>
                </a:solidFill>
                <a:ea typeface="メイリオ"/>
              </a:rPr>
              <a:t>)</a:t>
            </a:r>
            <a:endParaRPr lang="ja-JP" altLang="en-US" sz="1200" b="1" i="1" kern="0">
              <a:solidFill>
                <a:srgbClr val="FFFFFF"/>
              </a:solidFill>
              <a:ea typeface="メイリオ"/>
            </a:endParaRPr>
          </a:p>
        </p:txBody>
      </p:sp>
      <p:sp>
        <p:nvSpPr>
          <p:cNvPr id="68" name="平行四辺形 67">
            <a:extLst>
              <a:ext uri="{FF2B5EF4-FFF2-40B4-BE49-F238E27FC236}">
                <a16:creationId xmlns:a16="http://schemas.microsoft.com/office/drawing/2014/main" id="{32935764-F180-4BD7-82C5-366A3BAC9625}"/>
              </a:ext>
            </a:extLst>
          </p:cNvPr>
          <p:cNvSpPr/>
          <p:nvPr/>
        </p:nvSpPr>
        <p:spPr>
          <a:xfrm>
            <a:off x="6191942" y="4478823"/>
            <a:ext cx="2664000" cy="252000"/>
          </a:xfrm>
          <a:prstGeom prst="parallelogram">
            <a:avLst/>
          </a:prstGeom>
          <a:gradFill>
            <a:gsLst>
              <a:gs pos="0">
                <a:srgbClr val="F2AF00"/>
              </a:gs>
              <a:gs pos="48000">
                <a:srgbClr val="F2AF00"/>
              </a:gs>
              <a:gs pos="95000">
                <a:srgbClr val="F2AF00">
                  <a:lumMod val="40000"/>
                  <a:lumOff val="60000"/>
                </a:srgbClr>
              </a:gs>
            </a:gsLst>
            <a:lin ang="16200000" scaled="1"/>
          </a:gradFill>
          <a:ln w="12700" cmpd="sng"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685749">
              <a:lnSpc>
                <a:spcPct val="90000"/>
              </a:lnSpc>
              <a:spcBef>
                <a:spcPts val="600"/>
              </a:spcBef>
              <a:defRPr/>
            </a:pPr>
            <a:r>
              <a:rPr lang="en-US" altLang="ja-JP" sz="1600" b="1" i="1" kern="0">
                <a:solidFill>
                  <a:srgbClr val="FFFFFF"/>
                </a:solidFill>
                <a:ea typeface="メイリオ"/>
              </a:rPr>
              <a:t>Modern (</a:t>
            </a:r>
            <a:r>
              <a:rPr lang="ja-JP" altLang="en-US" sz="1400" b="1" i="1" kern="0">
                <a:solidFill>
                  <a:srgbClr val="FFFFFF"/>
                </a:solidFill>
                <a:ea typeface="メイリオ"/>
              </a:rPr>
              <a:t>最新鋭</a:t>
            </a:r>
            <a:r>
              <a:rPr lang="en-US" altLang="ja-JP" sz="1600" b="1" i="1" kern="0">
                <a:solidFill>
                  <a:srgbClr val="FFFFFF"/>
                </a:solidFill>
                <a:ea typeface="メイリオ"/>
              </a:rPr>
              <a:t>)</a:t>
            </a:r>
            <a:endParaRPr lang="ja-JP" altLang="en-US" sz="1200" b="1" i="1" kern="0">
              <a:solidFill>
                <a:srgbClr val="FFFFFF"/>
              </a:solidFill>
              <a:ea typeface="メイリオ"/>
            </a:endParaRPr>
          </a:p>
        </p:txBody>
      </p:sp>
      <p:pic>
        <p:nvPicPr>
          <p:cNvPr id="69" name="Picture 143">
            <a:extLst>
              <a:ext uri="{FF2B5EF4-FFF2-40B4-BE49-F238E27FC236}">
                <a16:creationId xmlns:a16="http://schemas.microsoft.com/office/drawing/2014/main" id="{4D0FA76B-C4AC-43E6-BC14-CACE97BE96B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733" y="1720581"/>
            <a:ext cx="678453" cy="832282"/>
          </a:xfrm>
          <a:prstGeom prst="rect">
            <a:avLst/>
          </a:prstGeom>
        </p:spPr>
      </p:pic>
      <p:pic>
        <p:nvPicPr>
          <p:cNvPr id="70" name="Picture 14">
            <a:extLst>
              <a:ext uri="{FF2B5EF4-FFF2-40B4-BE49-F238E27FC236}">
                <a16:creationId xmlns:a16="http://schemas.microsoft.com/office/drawing/2014/main" id="{69DE86C2-2648-48FE-9D25-A6F804D13B8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050" y="3446490"/>
            <a:ext cx="1679491" cy="996665"/>
          </a:xfrm>
          <a:prstGeom prst="rect">
            <a:avLst/>
          </a:prstGeom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Picture 38">
            <a:extLst>
              <a:ext uri="{FF2B5EF4-FFF2-40B4-BE49-F238E27FC236}">
                <a16:creationId xmlns:a16="http://schemas.microsoft.com/office/drawing/2014/main" id="{030A0ECE-8D7F-4D53-ADD1-C2466C8493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9544" y="3616039"/>
            <a:ext cx="736045" cy="578612"/>
          </a:xfrm>
          <a:prstGeom prst="rect">
            <a:avLst/>
          </a:prstGeom>
        </p:spPr>
      </p:pic>
      <p:grpSp>
        <p:nvGrpSpPr>
          <p:cNvPr id="72" name="グループ化 71">
            <a:extLst>
              <a:ext uri="{FF2B5EF4-FFF2-40B4-BE49-F238E27FC236}">
                <a16:creationId xmlns:a16="http://schemas.microsoft.com/office/drawing/2014/main" id="{2DA81BE0-9E6F-43F3-BC03-D139EA3CE99B}"/>
              </a:ext>
            </a:extLst>
          </p:cNvPr>
          <p:cNvGrpSpPr/>
          <p:nvPr/>
        </p:nvGrpSpPr>
        <p:grpSpPr>
          <a:xfrm>
            <a:off x="6621035" y="3479035"/>
            <a:ext cx="2190539" cy="996665"/>
            <a:chOff x="6479893" y="3443679"/>
            <a:chExt cx="2190539" cy="996665"/>
          </a:xfrm>
        </p:grpSpPr>
        <p:pic>
          <p:nvPicPr>
            <p:cNvPr id="73" name="Picture 14">
              <a:extLst>
                <a:ext uri="{FF2B5EF4-FFF2-40B4-BE49-F238E27FC236}">
                  <a16:creationId xmlns:a16="http://schemas.microsoft.com/office/drawing/2014/main" id="{C1A4864A-A44E-445A-8672-69B963A18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duotone>
                <a:srgbClr val="00447C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79893" y="3443679"/>
              <a:ext cx="1679491" cy="996665"/>
            </a:xfrm>
            <a:prstGeom prst="rect">
              <a:avLst/>
            </a:prstGeom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4" name="Picture 38">
              <a:extLst>
                <a:ext uri="{FF2B5EF4-FFF2-40B4-BE49-F238E27FC236}">
                  <a16:creationId xmlns:a16="http://schemas.microsoft.com/office/drawing/2014/main" id="{E75C864F-1A3F-42B8-BB7C-4EA99BAC6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duotone>
                <a:srgbClr val="00447C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34387" y="3613231"/>
              <a:ext cx="736045" cy="578612"/>
            </a:xfrm>
            <a:prstGeom prst="rect">
              <a:avLst/>
            </a:prstGeom>
          </p:spPr>
        </p:pic>
      </p:grpSp>
      <p:pic>
        <p:nvPicPr>
          <p:cNvPr id="32" name="図 31">
            <a:extLst>
              <a:ext uri="{FF2B5EF4-FFF2-40B4-BE49-F238E27FC236}">
                <a16:creationId xmlns:a16="http://schemas.microsoft.com/office/drawing/2014/main" id="{1174ADBE-CB02-4ED1-BD74-9DCFE9DD7E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20217" y="1703088"/>
            <a:ext cx="1554701" cy="795226"/>
          </a:xfrm>
          <a:prstGeom prst="rect">
            <a:avLst/>
          </a:prstGeom>
        </p:spPr>
      </p:pic>
      <p:sp>
        <p:nvSpPr>
          <p:cNvPr id="33" name="TextBox 25">
            <a:extLst>
              <a:ext uri="{FF2B5EF4-FFF2-40B4-BE49-F238E27FC236}">
                <a16:creationId xmlns:a16="http://schemas.microsoft.com/office/drawing/2014/main" id="{5491A8FC-2EB2-46BA-A387-A1FF90F43E82}"/>
              </a:ext>
            </a:extLst>
          </p:cNvPr>
          <p:cNvSpPr txBox="1"/>
          <p:nvPr/>
        </p:nvSpPr>
        <p:spPr>
          <a:xfrm>
            <a:off x="6129636" y="3153391"/>
            <a:ext cx="279451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49">
              <a:spcAft>
                <a:spcPts val="800"/>
              </a:spcAft>
              <a:buClr>
                <a:srgbClr val="0076CE"/>
              </a:buClr>
            </a:pPr>
            <a:r>
              <a:rPr lang="en-US" altLang="ja-JP" sz="1800">
                <a:solidFill>
                  <a:srgbClr val="FFFFFF"/>
                </a:solidFill>
                <a:ea typeface="メイリオ"/>
              </a:rPr>
              <a:t>Power</a:t>
            </a:r>
            <a:r>
              <a:rPr lang="ja-JP" altLang="en-US" sz="1800">
                <a:solidFill>
                  <a:srgbClr val="FFFFFF"/>
                </a:solidFill>
                <a:ea typeface="メイリオ"/>
              </a:rPr>
              <a:t> </a:t>
            </a:r>
            <a:r>
              <a:rPr lang="en-US" altLang="ja-JP" sz="1800">
                <a:solidFill>
                  <a:srgbClr val="FFFFFF"/>
                </a:solidFill>
                <a:ea typeface="メイリオ"/>
              </a:rPr>
              <a:t>Protect DD</a:t>
            </a:r>
            <a:endParaRPr lang="en-US" sz="1800">
              <a:solidFill>
                <a:srgbClr val="FFFFFF"/>
              </a:solidFill>
              <a:ea typeface="メイリオ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789865DC-F3F1-4F9C-B4D2-1C0983EBFAA4}"/>
              </a:ext>
            </a:extLst>
          </p:cNvPr>
          <p:cNvSpPr/>
          <p:nvPr/>
        </p:nvSpPr>
        <p:spPr>
          <a:xfrm>
            <a:off x="3219630" y="792276"/>
            <a:ext cx="2822500" cy="3650879"/>
          </a:xfrm>
          <a:prstGeom prst="rect">
            <a:avLst/>
          </a:prstGeom>
          <a:noFill/>
          <a:ln w="38100" cmpd="sng">
            <a:solidFill>
              <a:srgbClr val="FF0000"/>
            </a:solidFill>
            <a:prstDash val="dash"/>
          </a:ln>
          <a:effectLst/>
        </p:spPr>
        <p:txBody>
          <a:bodyPr wrap="square" lIns="182880" tIns="137160" rIns="137160" bIns="13716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kumimoji="1" lang="ja-JP" altLang="en-US" sz="200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86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785737E-0F02-43A0-9414-3F9553F61386}"/>
              </a:ext>
            </a:extLst>
          </p:cNvPr>
          <p:cNvSpPr txBox="1">
            <a:spLocks/>
          </p:cNvSpPr>
          <p:nvPr/>
        </p:nvSpPr>
        <p:spPr>
          <a:xfrm>
            <a:off x="304800" y="248258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+mj-cs"/>
              </a:rPr>
              <a:t>Transparent</a:t>
            </a:r>
            <a:r>
              <a:rPr kumimoji="0" lang="ja-JP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+mj-cs"/>
              </a:rPr>
              <a:t> </a:t>
            </a:r>
            <a:r>
              <a:rPr kumimoji="0" lang="en-US" altLang="ja-JP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+mj-cs"/>
              </a:rPr>
              <a:t>Snapshot</a:t>
            </a:r>
            <a:r>
              <a:rPr kumimoji="0" lang="ja-JP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50" charset="-128"/>
                <a:cs typeface="+mj-cs"/>
              </a:rPr>
              <a:t>のアーキテクチャ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5E61F9D-7176-4F14-ABED-1FB63077617E}"/>
              </a:ext>
            </a:extLst>
          </p:cNvPr>
          <p:cNvSpPr/>
          <p:nvPr/>
        </p:nvSpPr>
        <p:spPr>
          <a:xfrm>
            <a:off x="304800" y="971550"/>
            <a:ext cx="2667000" cy="3657600"/>
          </a:xfrm>
          <a:prstGeom prst="round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ADD029-8B31-42C9-A291-6947CA7E4D8F}"/>
              </a:ext>
            </a:extLst>
          </p:cNvPr>
          <p:cNvSpPr txBox="1"/>
          <p:nvPr/>
        </p:nvSpPr>
        <p:spPr>
          <a:xfrm>
            <a:off x="1078999" y="1019001"/>
            <a:ext cx="11620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X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Host</a:t>
            </a:r>
          </a:p>
        </p:txBody>
      </p:sp>
      <p:pic>
        <p:nvPicPr>
          <p:cNvPr id="17" name="Picture 2" descr="Vm Icon #398895 - Free Icons Library">
            <a:extLst>
              <a:ext uri="{FF2B5EF4-FFF2-40B4-BE49-F238E27FC236}">
                <a16:creationId xmlns:a16="http://schemas.microsoft.com/office/drawing/2014/main" id="{07BB2FD4-98E4-4AF3-9115-41A5DE941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99" y="1626077"/>
            <a:ext cx="5334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Cone outline">
            <a:extLst>
              <a:ext uri="{FF2B5EF4-FFF2-40B4-BE49-F238E27FC236}">
                <a16:creationId xmlns:a16="http://schemas.microsoft.com/office/drawing/2014/main" id="{7E8CA115-019F-4DD7-9B32-1B75C9CBD8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10641" y="2485081"/>
            <a:ext cx="1028316" cy="1028316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28B85CA4-2667-48B6-B3F0-1A2B0C767401}"/>
              </a:ext>
            </a:extLst>
          </p:cNvPr>
          <p:cNvGrpSpPr/>
          <p:nvPr/>
        </p:nvGrpSpPr>
        <p:grpSpPr>
          <a:xfrm>
            <a:off x="736916" y="3453723"/>
            <a:ext cx="533400" cy="712937"/>
            <a:chOff x="2514600" y="2392213"/>
            <a:chExt cx="533400" cy="712937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E8AB961-8791-449D-B482-20E11134781A}"/>
                </a:ext>
              </a:extLst>
            </p:cNvPr>
            <p:cNvSpPr/>
            <p:nvPr/>
          </p:nvSpPr>
          <p:spPr>
            <a:xfrm>
              <a:off x="2514600" y="2392213"/>
              <a:ext cx="533400" cy="712937"/>
            </a:xfrm>
            <a:prstGeom prst="round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B8B9786-8E9B-4C8B-A1B8-CBCD0C556862}"/>
                </a:ext>
              </a:extLst>
            </p:cNvPr>
            <p:cNvSpPr/>
            <p:nvPr/>
          </p:nvSpPr>
          <p:spPr>
            <a:xfrm>
              <a:off x="2617035" y="2571750"/>
              <a:ext cx="61125" cy="60893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DC82B03-ACC4-4B77-85B0-F15FE4549BFE}"/>
                </a:ext>
              </a:extLst>
            </p:cNvPr>
            <p:cNvSpPr/>
            <p:nvPr/>
          </p:nvSpPr>
          <p:spPr>
            <a:xfrm>
              <a:off x="2888062" y="2571750"/>
              <a:ext cx="61125" cy="60893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D259734-419C-4C33-B11C-247183EE3BAF}"/>
                </a:ext>
              </a:extLst>
            </p:cNvPr>
            <p:cNvSpPr/>
            <p:nvPr/>
          </p:nvSpPr>
          <p:spPr>
            <a:xfrm>
              <a:off x="2617035" y="2957348"/>
              <a:ext cx="61125" cy="60893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6CECE4FE-9C98-45A5-B41E-69C0AA2CD13C}"/>
                </a:ext>
              </a:extLst>
            </p:cNvPr>
            <p:cNvSpPr/>
            <p:nvPr/>
          </p:nvSpPr>
          <p:spPr>
            <a:xfrm>
              <a:off x="2888062" y="2957348"/>
              <a:ext cx="61125" cy="60893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ADA21425-9383-4266-A30F-5015E960F429}"/>
                </a:ext>
              </a:extLst>
            </p:cNvPr>
            <p:cNvSpPr/>
            <p:nvPr/>
          </p:nvSpPr>
          <p:spPr>
            <a:xfrm>
              <a:off x="2613825" y="2449831"/>
              <a:ext cx="335362" cy="45719"/>
            </a:xfrm>
            <a:prstGeom prst="round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39FDEEE-4E6B-4B5F-B544-A2A466ECBBC1}"/>
                </a:ext>
              </a:extLst>
            </p:cNvPr>
            <p:cNvSpPr/>
            <p:nvPr/>
          </p:nvSpPr>
          <p:spPr>
            <a:xfrm>
              <a:off x="2626601" y="2640296"/>
              <a:ext cx="309398" cy="309398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AF79779-A2F3-4F6E-BCEE-824EC0FD513E}"/>
                </a:ext>
              </a:extLst>
            </p:cNvPr>
            <p:cNvSpPr/>
            <p:nvPr/>
          </p:nvSpPr>
          <p:spPr>
            <a:xfrm>
              <a:off x="2715053" y="2728748"/>
              <a:ext cx="132495" cy="132495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526F3DC-DA30-4573-8F67-41E1C2B2FDFE}"/>
              </a:ext>
            </a:extLst>
          </p:cNvPr>
          <p:cNvSpPr txBox="1"/>
          <p:nvPr/>
        </p:nvSpPr>
        <p:spPr>
          <a:xfrm>
            <a:off x="679766" y="4232417"/>
            <a:ext cx="6477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DK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12E0AB0-9AF1-42E3-8FC7-C23ECA0C1B9F}"/>
              </a:ext>
            </a:extLst>
          </p:cNvPr>
          <p:cNvSpPr txBox="1"/>
          <p:nvPr/>
        </p:nvSpPr>
        <p:spPr>
          <a:xfrm>
            <a:off x="759274" y="2875062"/>
            <a:ext cx="5361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W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C6984AD-5E86-4E71-BD5B-3A10C914F8B0}"/>
              </a:ext>
            </a:extLst>
          </p:cNvPr>
          <p:cNvSpPr/>
          <p:nvPr/>
        </p:nvSpPr>
        <p:spPr>
          <a:xfrm>
            <a:off x="1523941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69BF1E2-0037-448B-8BEB-36D8576639E8}"/>
              </a:ext>
            </a:extLst>
          </p:cNvPr>
          <p:cNvSpPr/>
          <p:nvPr/>
        </p:nvSpPr>
        <p:spPr>
          <a:xfrm>
            <a:off x="1600200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3522E5D-780F-4943-972A-EEF0E9C01C0A}"/>
              </a:ext>
            </a:extLst>
          </p:cNvPr>
          <p:cNvSpPr/>
          <p:nvPr/>
        </p:nvSpPr>
        <p:spPr>
          <a:xfrm>
            <a:off x="1676400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77FE164-28ED-4368-B0A2-6F70E1D9ECCA}"/>
              </a:ext>
            </a:extLst>
          </p:cNvPr>
          <p:cNvSpPr/>
          <p:nvPr/>
        </p:nvSpPr>
        <p:spPr>
          <a:xfrm>
            <a:off x="1752659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2C45531-A374-4B60-AD15-003088897439}"/>
              </a:ext>
            </a:extLst>
          </p:cNvPr>
          <p:cNvSpPr/>
          <p:nvPr/>
        </p:nvSpPr>
        <p:spPr>
          <a:xfrm>
            <a:off x="1905118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F04573A-ACFA-4179-A1DE-01B99689F57B}"/>
              </a:ext>
            </a:extLst>
          </p:cNvPr>
          <p:cNvSpPr/>
          <p:nvPr/>
        </p:nvSpPr>
        <p:spPr>
          <a:xfrm>
            <a:off x="1981318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CBE9D7-6DBA-4391-B292-36263E1FF39D}"/>
              </a:ext>
            </a:extLst>
          </p:cNvPr>
          <p:cNvSpPr/>
          <p:nvPr/>
        </p:nvSpPr>
        <p:spPr>
          <a:xfrm>
            <a:off x="2057577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62C6521-B0A5-48E6-BFD2-782A21A1D0D7}"/>
              </a:ext>
            </a:extLst>
          </p:cNvPr>
          <p:cNvSpPr/>
          <p:nvPr/>
        </p:nvSpPr>
        <p:spPr>
          <a:xfrm>
            <a:off x="2209711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F9B86AB-34BC-4AEB-8404-8EFDF074EABF}"/>
              </a:ext>
            </a:extLst>
          </p:cNvPr>
          <p:cNvSpPr/>
          <p:nvPr/>
        </p:nvSpPr>
        <p:spPr>
          <a:xfrm>
            <a:off x="2285911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B3B5B10-9D30-4CA7-AA52-461C9DBBB5F4}"/>
              </a:ext>
            </a:extLst>
          </p:cNvPr>
          <p:cNvSpPr/>
          <p:nvPr/>
        </p:nvSpPr>
        <p:spPr>
          <a:xfrm>
            <a:off x="2362170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C79E8B-DD19-4E40-847A-1FC787F1B29F}"/>
              </a:ext>
            </a:extLst>
          </p:cNvPr>
          <p:cNvSpPr txBox="1"/>
          <p:nvPr/>
        </p:nvSpPr>
        <p:spPr>
          <a:xfrm>
            <a:off x="1465942" y="2153009"/>
            <a:ext cx="103075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memory Bitmap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DD0A8C0-50E3-448A-8680-179556FCEFE7}"/>
              </a:ext>
            </a:extLst>
          </p:cNvPr>
          <p:cNvSpPr txBox="1"/>
          <p:nvPr/>
        </p:nvSpPr>
        <p:spPr>
          <a:xfrm>
            <a:off x="1599816" y="2306268"/>
            <a:ext cx="7625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58FB419-EE72-4AEA-B9AA-86E3CB2943B7}"/>
              </a:ext>
            </a:extLst>
          </p:cNvPr>
          <p:cNvSpPr/>
          <p:nvPr/>
        </p:nvSpPr>
        <p:spPr>
          <a:xfrm>
            <a:off x="1828918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0A71D38-99B0-4908-A6B2-52F9AFE92ADE}"/>
              </a:ext>
            </a:extLst>
          </p:cNvPr>
          <p:cNvSpPr txBox="1"/>
          <p:nvPr/>
        </p:nvSpPr>
        <p:spPr>
          <a:xfrm>
            <a:off x="1828534" y="2306268"/>
            <a:ext cx="7625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C9D728B-22CE-4144-88CE-25289DE60B42}"/>
              </a:ext>
            </a:extLst>
          </p:cNvPr>
          <p:cNvSpPr/>
          <p:nvPr/>
        </p:nvSpPr>
        <p:spPr>
          <a:xfrm>
            <a:off x="2130748" y="2291623"/>
            <a:ext cx="76259" cy="7620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ED0E04E-7708-4391-88F1-BA6039BF90A1}"/>
              </a:ext>
            </a:extLst>
          </p:cNvPr>
          <p:cNvSpPr txBox="1"/>
          <p:nvPr/>
        </p:nvSpPr>
        <p:spPr>
          <a:xfrm>
            <a:off x="2130364" y="2306268"/>
            <a:ext cx="76259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9DACF330-CD30-4591-AC83-B46DA424D065}"/>
              </a:ext>
            </a:extLst>
          </p:cNvPr>
          <p:cNvCxnSpPr>
            <a:cxnSpLocks/>
          </p:cNvCxnSpPr>
          <p:nvPr/>
        </p:nvCxnSpPr>
        <p:spPr>
          <a:xfrm flipV="1">
            <a:off x="1371600" y="2444023"/>
            <a:ext cx="419188" cy="200064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3732F7BD-738D-4DB2-AF4D-76166303994F}"/>
              </a:ext>
            </a:extLst>
          </p:cNvPr>
          <p:cNvSpPr txBox="1"/>
          <p:nvPr/>
        </p:nvSpPr>
        <p:spPr>
          <a:xfrm>
            <a:off x="4479176" y="745261"/>
            <a:ext cx="4565802" cy="30082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Transparent Snapshots </a:t>
            </a:r>
            <a:r>
              <a:rPr kumimoji="0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プロセス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Lightweight Delta (LWD) filter 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が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I/O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を監視し、</a:t>
            </a: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VMDK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の変更ビットマップをインメモリで追跡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ビットマップは「常時オン」のスナップショットとして機能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バックアップ中はバックアップストレージへの転送対象のブロックを識別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変更差分ブロックを、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ESXi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内の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Transparent Snapshot Dat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Mover（TSD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）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に転送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Transparent Snapshot Data Mover (TSDM) 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はソース側で重複排除を行い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PowerProtec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 DD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に直接送信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バックアップ終了後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I/O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ea"/>
                <a:cs typeface="+mn-cs"/>
              </a:rPr>
              <a:t>監視を停止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CA5B055-0115-47EB-8A1C-2146C807B909}"/>
              </a:ext>
            </a:extLst>
          </p:cNvPr>
          <p:cNvSpPr txBox="1"/>
          <p:nvPr/>
        </p:nvSpPr>
        <p:spPr>
          <a:xfrm>
            <a:off x="511960" y="1483105"/>
            <a:ext cx="10307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est VM</a:t>
            </a:r>
          </a:p>
        </p:txBody>
      </p:sp>
      <p:sp>
        <p:nvSpPr>
          <p:cNvPr id="55" name="Arrow: Down 54">
            <a:extLst>
              <a:ext uri="{FF2B5EF4-FFF2-40B4-BE49-F238E27FC236}">
                <a16:creationId xmlns:a16="http://schemas.microsoft.com/office/drawing/2014/main" id="{3ACEFC36-B159-48C1-8617-EC11FDA04120}"/>
              </a:ext>
            </a:extLst>
          </p:cNvPr>
          <p:cNvSpPr/>
          <p:nvPr/>
        </p:nvSpPr>
        <p:spPr>
          <a:xfrm>
            <a:off x="914400" y="2188286"/>
            <a:ext cx="228600" cy="589074"/>
          </a:xfrm>
          <a:prstGeom prst="downArrow">
            <a:avLst/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775F9C54-D260-48F2-BD2E-8890E158CEAC}"/>
              </a:ext>
            </a:extLst>
          </p:cNvPr>
          <p:cNvSpPr/>
          <p:nvPr/>
        </p:nvSpPr>
        <p:spPr>
          <a:xfrm>
            <a:off x="1638447" y="3511341"/>
            <a:ext cx="647553" cy="58587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863867F-9AA9-4115-B59A-3B782247ED78}"/>
              </a:ext>
            </a:extLst>
          </p:cNvPr>
          <p:cNvSpPr txBox="1"/>
          <p:nvPr/>
        </p:nvSpPr>
        <p:spPr>
          <a:xfrm>
            <a:off x="1485988" y="3696138"/>
            <a:ext cx="9524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SDM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F86D0B4-7C67-4A46-976D-D65AD87DCE45}"/>
              </a:ext>
            </a:extLst>
          </p:cNvPr>
          <p:cNvCxnSpPr>
            <a:cxnSpLocks/>
          </p:cNvCxnSpPr>
          <p:nvPr/>
        </p:nvCxnSpPr>
        <p:spPr>
          <a:xfrm>
            <a:off x="1295400" y="3803860"/>
            <a:ext cx="285794" cy="0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FA68D39B-CB95-4E88-A8C8-437583919C9F}"/>
              </a:ext>
            </a:extLst>
          </p:cNvPr>
          <p:cNvCxnSpPr>
            <a:cxnSpLocks/>
          </p:cNvCxnSpPr>
          <p:nvPr/>
        </p:nvCxnSpPr>
        <p:spPr>
          <a:xfrm flipH="1">
            <a:off x="1498760" y="2461191"/>
            <a:ext cx="492076" cy="242828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D139D185-5EDF-40DD-B67E-1A3F9F62581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65" t="25705" r="2792" b="27092"/>
          <a:stretch/>
        </p:blipFill>
        <p:spPr>
          <a:xfrm>
            <a:off x="3666994" y="4409852"/>
            <a:ext cx="1707942" cy="462490"/>
          </a:xfrm>
          <a:prstGeom prst="rect">
            <a:avLst/>
          </a:prstGeom>
          <a:effectLst/>
        </p:spPr>
      </p:pic>
      <p:pic>
        <p:nvPicPr>
          <p:cNvPr id="62" name="Picture 6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443F13D-CECA-4423-8F67-DB00DD7EB3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85381" y="3660391"/>
            <a:ext cx="1468481" cy="762000"/>
          </a:xfrm>
          <a:prstGeom prst="rect">
            <a:avLst/>
          </a:prstGeom>
          <a:effectLst/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85B7BA75-4C95-4A1F-B5D3-723D1A971641}"/>
              </a:ext>
            </a:extLst>
          </p:cNvPr>
          <p:cNvSpPr txBox="1"/>
          <p:nvPr/>
        </p:nvSpPr>
        <p:spPr>
          <a:xfrm>
            <a:off x="3365650" y="3460150"/>
            <a:ext cx="17079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owerProtec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 Data Manager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71DCE3C-0C7E-44CB-8F88-59E5250A36C0}"/>
              </a:ext>
            </a:extLst>
          </p:cNvPr>
          <p:cNvSpPr txBox="1"/>
          <p:nvPr/>
        </p:nvSpPr>
        <p:spPr>
          <a:xfrm>
            <a:off x="4005589" y="4910954"/>
            <a:ext cx="1030752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owerProtec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 D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6E1460A-A150-4B99-B675-DE65613A8753}"/>
              </a:ext>
            </a:extLst>
          </p:cNvPr>
          <p:cNvSpPr txBox="1"/>
          <p:nvPr/>
        </p:nvSpPr>
        <p:spPr>
          <a:xfrm>
            <a:off x="2057577" y="4152087"/>
            <a:ext cx="10307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DBoost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 descr="Qr code&#10;&#10;Description automatically generated">
            <a:extLst>
              <a:ext uri="{FF2B5EF4-FFF2-40B4-BE49-F238E27FC236}">
                <a16:creationId xmlns:a16="http://schemas.microsoft.com/office/drawing/2014/main" id="{A701BC61-181A-4BC0-8AB9-91505A8C3D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2175" y="1311488"/>
            <a:ext cx="788895" cy="762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2F346CB-FF3C-4233-998F-49F10B687C96}"/>
              </a:ext>
            </a:extLst>
          </p:cNvPr>
          <p:cNvSpPr txBox="1"/>
          <p:nvPr/>
        </p:nvSpPr>
        <p:spPr>
          <a:xfrm>
            <a:off x="1349421" y="3021888"/>
            <a:ext cx="15272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0 MB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2A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</p:txBody>
      </p:sp>
      <p:pic>
        <p:nvPicPr>
          <p:cNvPr id="60" name="Picture 59" descr="A picture containing text&#10;&#10;Description automatically generated">
            <a:extLst>
              <a:ext uri="{FF2B5EF4-FFF2-40B4-BE49-F238E27FC236}">
                <a16:creationId xmlns:a16="http://schemas.microsoft.com/office/drawing/2014/main" id="{C903EEA5-AA18-4BDC-81EB-90990F1220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68493" y="3281800"/>
            <a:ext cx="1376029" cy="1104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325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eft-Right Arrow 33">
            <a:extLst>
              <a:ext uri="{FF2B5EF4-FFF2-40B4-BE49-F238E27FC236}">
                <a16:creationId xmlns:a16="http://schemas.microsoft.com/office/drawing/2014/main" id="{507BDACD-1809-4CFA-A6B5-44D078408B37}"/>
              </a:ext>
            </a:extLst>
          </p:cNvPr>
          <p:cNvSpPr/>
          <p:nvPr/>
        </p:nvSpPr>
        <p:spPr>
          <a:xfrm flipH="1">
            <a:off x="0" y="1489015"/>
            <a:ext cx="5998356" cy="3147278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47000"/>
                </a:schemeClr>
              </a:gs>
              <a:gs pos="87000">
                <a:schemeClr val="bg2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17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1">
            <a:noAutofit/>
          </a:bodyPr>
          <a:lstStyle/>
          <a:p>
            <a:pPr marL="0" marR="0" lvl="0" indent="0" algn="ctr" defTabSz="9143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grpSp>
        <p:nvGrpSpPr>
          <p:cNvPr id="40" name="Group 21">
            <a:extLst>
              <a:ext uri="{FF2B5EF4-FFF2-40B4-BE49-F238E27FC236}">
                <a16:creationId xmlns:a16="http://schemas.microsoft.com/office/drawing/2014/main" id="{0E318D18-548B-4B12-96D4-14845FAD1616}"/>
              </a:ext>
            </a:extLst>
          </p:cNvPr>
          <p:cNvGrpSpPr/>
          <p:nvPr/>
        </p:nvGrpSpPr>
        <p:grpSpPr>
          <a:xfrm>
            <a:off x="744159" y="1887444"/>
            <a:ext cx="1248343" cy="2563906"/>
            <a:chOff x="260736" y="844998"/>
            <a:chExt cx="1739514" cy="3555552"/>
          </a:xfrm>
        </p:grpSpPr>
        <p:pic>
          <p:nvPicPr>
            <p:cNvPr id="51" name="Picture 2" descr="Vm Icon #398895 - Free Icons Library">
              <a:extLst>
                <a:ext uri="{FF2B5EF4-FFF2-40B4-BE49-F238E27FC236}">
                  <a16:creationId xmlns:a16="http://schemas.microsoft.com/office/drawing/2014/main" id="{B95F2583-E803-4947-86E7-2999B649D1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950" y="2850309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 descr="Vm Icon #398895 - Free Icons Library">
              <a:extLst>
                <a:ext uri="{FF2B5EF4-FFF2-40B4-BE49-F238E27FC236}">
                  <a16:creationId xmlns:a16="http://schemas.microsoft.com/office/drawing/2014/main" id="{E2A92912-0285-4E92-A5E1-D45E00DCD0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158" y="200025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2" descr="Vm Icon #398895 - Free Icons Library">
              <a:extLst>
                <a:ext uri="{FF2B5EF4-FFF2-40B4-BE49-F238E27FC236}">
                  <a16:creationId xmlns:a16="http://schemas.microsoft.com/office/drawing/2014/main" id="{55529B40-0448-47B4-BDAF-BA00C2DC2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94" y="1147416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4" name="Straight Connector 26">
              <a:extLst>
                <a:ext uri="{FF2B5EF4-FFF2-40B4-BE49-F238E27FC236}">
                  <a16:creationId xmlns:a16="http://schemas.microsoft.com/office/drawing/2014/main" id="{F70DED57-973C-41E7-8DD4-5C0F42EAE4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750" y="844998"/>
              <a:ext cx="17145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Connector 27">
              <a:extLst>
                <a:ext uri="{FF2B5EF4-FFF2-40B4-BE49-F238E27FC236}">
                  <a16:creationId xmlns:a16="http://schemas.microsoft.com/office/drawing/2014/main" id="{092C551A-C735-440A-8FB1-CA02E716F41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8766" y="4400550"/>
              <a:ext cx="173148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Connector 28">
              <a:extLst>
                <a:ext uri="{FF2B5EF4-FFF2-40B4-BE49-F238E27FC236}">
                  <a16:creationId xmlns:a16="http://schemas.microsoft.com/office/drawing/2014/main" id="{345952EF-CE9E-4A6A-A03C-F87AD5658EE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0736" y="844998"/>
              <a:ext cx="24746" cy="35555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Straight Connector 29">
              <a:extLst>
                <a:ext uri="{FF2B5EF4-FFF2-40B4-BE49-F238E27FC236}">
                  <a16:creationId xmlns:a16="http://schemas.microsoft.com/office/drawing/2014/main" id="{17791FA1-923A-44EA-B671-2F36C92FDE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71650" y="1028700"/>
              <a:ext cx="0" cy="12001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Straight Connector 30">
              <a:extLst>
                <a:ext uri="{FF2B5EF4-FFF2-40B4-BE49-F238E27FC236}">
                  <a16:creationId xmlns:a16="http://schemas.microsoft.com/office/drawing/2014/main" id="{D2156C99-9E82-4525-9143-228EB85E4F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1500" y="1028700"/>
              <a:ext cx="0" cy="32004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31">
              <a:extLst>
                <a:ext uri="{FF2B5EF4-FFF2-40B4-BE49-F238E27FC236}">
                  <a16:creationId xmlns:a16="http://schemas.microsoft.com/office/drawing/2014/main" id="{034D0552-C011-4955-860A-BBB4CAFE681D}"/>
                </a:ext>
              </a:extLst>
            </p:cNvPr>
            <p:cNvCxnSpPr>
              <a:cxnSpLocks/>
            </p:cNvCxnSpPr>
            <p:nvPr/>
          </p:nvCxnSpPr>
          <p:spPr>
            <a:xfrm>
              <a:off x="558094" y="1028700"/>
              <a:ext cx="12135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32">
              <a:extLst>
                <a:ext uri="{FF2B5EF4-FFF2-40B4-BE49-F238E27FC236}">
                  <a16:creationId xmlns:a16="http://schemas.microsoft.com/office/drawing/2014/main" id="{54B04DA9-16A9-42F0-A3F3-8A8699CBF2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71650" y="3028950"/>
              <a:ext cx="0" cy="12001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1" name="Straight Connector 33">
              <a:extLst>
                <a:ext uri="{FF2B5EF4-FFF2-40B4-BE49-F238E27FC236}">
                  <a16:creationId xmlns:a16="http://schemas.microsoft.com/office/drawing/2014/main" id="{AA3CAF7B-9CFF-4FAB-9B40-19D9E6ED5B8C}"/>
                </a:ext>
              </a:extLst>
            </p:cNvPr>
            <p:cNvCxnSpPr>
              <a:cxnSpLocks/>
            </p:cNvCxnSpPr>
            <p:nvPr/>
          </p:nvCxnSpPr>
          <p:spPr>
            <a:xfrm>
              <a:off x="558094" y="4229100"/>
              <a:ext cx="12135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Connector 34">
              <a:extLst>
                <a:ext uri="{FF2B5EF4-FFF2-40B4-BE49-F238E27FC236}">
                  <a16:creationId xmlns:a16="http://schemas.microsoft.com/office/drawing/2014/main" id="{3AD7DE2D-4008-4317-91FC-E935533C88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0725" y="844998"/>
              <a:ext cx="0" cy="13838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Straight Connector 35">
              <a:extLst>
                <a:ext uri="{FF2B5EF4-FFF2-40B4-BE49-F238E27FC236}">
                  <a16:creationId xmlns:a16="http://schemas.microsoft.com/office/drawing/2014/main" id="{B85A8DCC-8DDA-4655-89FB-5FAB7CF70E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0725" y="3016698"/>
              <a:ext cx="0" cy="13838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1" name="グループ化 40">
            <a:extLst>
              <a:ext uri="{FF2B5EF4-FFF2-40B4-BE49-F238E27FC236}">
                <a16:creationId xmlns:a16="http://schemas.microsoft.com/office/drawing/2014/main" id="{7F13ECCE-959E-4BF7-8DE5-B2C00B52E1A8}"/>
              </a:ext>
            </a:extLst>
          </p:cNvPr>
          <p:cNvGrpSpPr/>
          <p:nvPr/>
        </p:nvGrpSpPr>
        <p:grpSpPr>
          <a:xfrm>
            <a:off x="3642268" y="1830667"/>
            <a:ext cx="1468149" cy="1528688"/>
            <a:chOff x="6171603" y="890069"/>
            <a:chExt cx="2980489" cy="3103392"/>
          </a:xfrm>
        </p:grpSpPr>
        <p:pic>
          <p:nvPicPr>
            <p:cNvPr id="48" name="Picture 9">
              <a:extLst>
                <a:ext uri="{FF2B5EF4-FFF2-40B4-BE49-F238E27FC236}">
                  <a16:creationId xmlns:a16="http://schemas.microsoft.com/office/drawing/2014/main" id="{75F8F0A7-CC96-495D-BBB0-6E98B1319B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20473"/>
            <a:stretch/>
          </p:blipFill>
          <p:spPr>
            <a:xfrm>
              <a:off x="6171603" y="890069"/>
              <a:ext cx="2972397" cy="3103392"/>
            </a:xfrm>
            <a:prstGeom prst="rect">
              <a:avLst/>
            </a:prstGeom>
          </p:spPr>
        </p:pic>
        <p:pic>
          <p:nvPicPr>
            <p:cNvPr id="49" name="Picture 10">
              <a:extLst>
                <a:ext uri="{FF2B5EF4-FFF2-40B4-BE49-F238E27FC236}">
                  <a16:creationId xmlns:a16="http://schemas.microsoft.com/office/drawing/2014/main" id="{07F192D4-0F76-465E-9D99-9EA02138C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16519"/>
            <a:stretch/>
          </p:blipFill>
          <p:spPr>
            <a:xfrm>
              <a:off x="6461080" y="1033377"/>
              <a:ext cx="2691012" cy="1834074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42" name="図 41">
            <a:extLst>
              <a:ext uri="{FF2B5EF4-FFF2-40B4-BE49-F238E27FC236}">
                <a16:creationId xmlns:a16="http://schemas.microsoft.com/office/drawing/2014/main" id="{DC39FD4C-B0EB-4D85-98E5-259B3C553F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1157" y="3780372"/>
            <a:ext cx="1990907" cy="348137"/>
          </a:xfrm>
          <a:prstGeom prst="rect">
            <a:avLst/>
          </a:prstGeom>
        </p:spPr>
      </p:pic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55F93B3-179D-4F68-8C79-9A930D5E54F7}"/>
              </a:ext>
            </a:extLst>
          </p:cNvPr>
          <p:cNvSpPr txBox="1"/>
          <p:nvPr/>
        </p:nvSpPr>
        <p:spPr>
          <a:xfrm>
            <a:off x="1420515" y="1776400"/>
            <a:ext cx="264381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1. PowerProtect Data Manager 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で設定した</a:t>
            </a:r>
            <a:b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    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ポリシー／スケジュールを元に仮想マシン</a:t>
            </a:r>
            <a:b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    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をモニタリング</a:t>
            </a: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C03E191D-D393-4A6F-A252-8632A067D4E7}"/>
              </a:ext>
            </a:extLst>
          </p:cNvPr>
          <p:cNvSpPr txBox="1"/>
          <p:nvPr/>
        </p:nvSpPr>
        <p:spPr>
          <a:xfrm>
            <a:off x="1716359" y="2858863"/>
            <a:ext cx="20521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2. PowerProtect Data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 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Manager</a:t>
            </a:r>
            <a:b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    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がバックアップ取得をリクエスト</a:t>
            </a:r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8AEFDECF-06EF-4746-BBA6-3E9670D4114D}"/>
              </a:ext>
            </a:extLst>
          </p:cNvPr>
          <p:cNvSpPr txBox="1"/>
          <p:nvPr/>
        </p:nvSpPr>
        <p:spPr>
          <a:xfrm>
            <a:off x="2133900" y="4195646"/>
            <a:ext cx="2666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3. Storage Data Mover 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が、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PowerProtect DD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へ</a:t>
            </a:r>
            <a:b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　　スナップショットデータを直接転送</a:t>
            </a:r>
          </a:p>
        </p:txBody>
      </p:sp>
      <p:cxnSp>
        <p:nvCxnSpPr>
          <p:cNvPr id="47" name="Straight Arrow Connector 36">
            <a:extLst>
              <a:ext uri="{FF2B5EF4-FFF2-40B4-BE49-F238E27FC236}">
                <a16:creationId xmlns:a16="http://schemas.microsoft.com/office/drawing/2014/main" id="{B6F84E5F-0E87-420D-B1B3-33A55A66E005}"/>
              </a:ext>
            </a:extLst>
          </p:cNvPr>
          <p:cNvCxnSpPr>
            <a:cxnSpLocks/>
          </p:cNvCxnSpPr>
          <p:nvPr/>
        </p:nvCxnSpPr>
        <p:spPr>
          <a:xfrm>
            <a:off x="1802182" y="4081728"/>
            <a:ext cx="1201102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5791204" y="431650"/>
            <a:ext cx="3352796" cy="4171950"/>
            <a:chOff x="559721" y="831932"/>
            <a:chExt cx="2319718" cy="340456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5248FBF-E230-404B-A0E0-E6085199C91A}"/>
                </a:ext>
              </a:extLst>
            </p:cNvPr>
            <p:cNvSpPr txBox="1"/>
            <p:nvPr/>
          </p:nvSpPr>
          <p:spPr>
            <a:xfrm>
              <a:off x="559721" y="831932"/>
              <a:ext cx="2319718" cy="3404560"/>
            </a:xfrm>
            <a:prstGeom prst="rect">
              <a:avLst/>
            </a:prstGeom>
            <a:solidFill>
              <a:srgbClr val="003969">
                <a:alpha val="54000"/>
              </a:srgbClr>
            </a:solidFill>
            <a:effectLst>
              <a:outerShdw blurRad="165100" sx="103000" sy="103000" algn="ctr" rotWithShape="0">
                <a:schemeClr val="tx2">
                  <a:alpha val="40000"/>
                </a:schemeClr>
              </a:outerShdw>
            </a:effectLst>
          </p:spPr>
          <p:txBody>
            <a:bodyPr wrap="square" lIns="274320" tIns="0" rIns="274320" bIns="0" rtlCol="0" anchor="ctr">
              <a:noAutofit/>
            </a:bodyPr>
            <a:lstStyle/>
            <a:p>
              <a:pPr marL="0" marR="0" lvl="0" indent="0" algn="l" defTabSz="6857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  <a:p>
              <a:pPr marL="0" marR="0" lvl="0" indent="0" algn="l" defTabSz="6857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1FC6E3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  <a:p>
              <a:pPr marL="0" marR="0" lvl="0" indent="0" algn="l" defTabSz="6857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8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13" name="Left-Right Arrow 33">
              <a:extLst>
                <a:ext uri="{FF2B5EF4-FFF2-40B4-BE49-F238E27FC236}">
                  <a16:creationId xmlns:a16="http://schemas.microsoft.com/office/drawing/2014/main" id="{507BDACD-1809-4CFA-A6B5-44D078408B37}"/>
                </a:ext>
              </a:extLst>
            </p:cNvPr>
            <p:cNvSpPr/>
            <p:nvPr/>
          </p:nvSpPr>
          <p:spPr>
            <a:xfrm rot="10800000">
              <a:off x="559722" y="1926538"/>
              <a:ext cx="2319717" cy="2309953"/>
            </a:xfrm>
            <a:prstGeom prst="rect">
              <a:avLst/>
            </a:prstGeom>
            <a:gradFill>
              <a:gsLst>
                <a:gs pos="0">
                  <a:srgbClr val="41B6E6"/>
                </a:gs>
                <a:gs pos="100000">
                  <a:srgbClr val="41B6E6">
                    <a:alpha val="0"/>
                  </a:srgbClr>
                </a:gs>
              </a:gsLst>
            </a:gradFill>
            <a:ln w="3175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1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78AD9A55-5B72-4A4F-9505-EB9404FD3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700" dirty="0">
                <a:latin typeface="+mj-ea"/>
              </a:rPr>
              <a:t>最新イノベーションの効果</a:t>
            </a:r>
            <a:endParaRPr lang="en-US" sz="2700" dirty="0">
              <a:latin typeface="+mj-e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2649F48-66FC-4CF0-A4F2-CED70D09A928}"/>
              </a:ext>
            </a:extLst>
          </p:cNvPr>
          <p:cNvSpPr/>
          <p:nvPr/>
        </p:nvSpPr>
        <p:spPr>
          <a:xfrm>
            <a:off x="0" y="801460"/>
            <a:ext cx="5767686" cy="687554"/>
          </a:xfrm>
          <a:prstGeom prst="rect">
            <a:avLst/>
          </a:prstGeom>
          <a:gradFill flip="none" rotWithShape="1">
            <a:gsLst>
              <a:gs pos="50000">
                <a:schemeClr val="bg2">
                  <a:alpha val="50000"/>
                </a:schemeClr>
              </a:gs>
              <a:gs pos="0">
                <a:srgbClr val="022D44">
                  <a:alpha val="20000"/>
                </a:srgbClr>
              </a:gs>
              <a:gs pos="100000">
                <a:srgbClr val="12324C">
                  <a:alpha val="20000"/>
                </a:srgb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50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いままで適正な保護を断念していた</a:t>
            </a:r>
            <a:br>
              <a:rPr kumimoji="0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大規模でミッション・クリティカルな仮想マシンを</a:t>
            </a:r>
            <a:br>
              <a:rPr kumimoji="0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</a:b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業務影響なくバックアップできるように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AE4309C-B1CE-4324-9FA8-A49A48E3AF76}"/>
              </a:ext>
            </a:extLst>
          </p:cNvPr>
          <p:cNvSpPr txBox="1"/>
          <p:nvPr/>
        </p:nvSpPr>
        <p:spPr>
          <a:xfrm>
            <a:off x="5814723" y="591220"/>
            <a:ext cx="3352796" cy="33496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300" normalizeH="0" baseline="0" noProof="0" dirty="0">
                <a:ln>
                  <a:noFill/>
                </a:ln>
                <a:solidFill>
                  <a:srgbClr val="3DC6EF"/>
                </a:solidFill>
                <a:effectLst/>
                <a:uLnTx/>
                <a:uFillTx/>
                <a:latin typeface="+mj-ea"/>
                <a:ea typeface="+mj-ea"/>
              </a:rPr>
              <a:t>イノベーションの効果</a:t>
            </a:r>
            <a:br>
              <a:rPr kumimoji="0" lang="en-US" sz="1600" b="1" i="0" u="none" strike="noStrike" kern="1200" cap="none" spc="300" normalizeH="0" baseline="0" noProof="0" dirty="0">
                <a:ln>
                  <a:noFill/>
                </a:ln>
                <a:solidFill>
                  <a:srgbClr val="3DC6EF"/>
                </a:solidFill>
                <a:effectLst/>
                <a:uLnTx/>
                <a:uFillTx/>
                <a:latin typeface="+mj-ea"/>
                <a:ea typeface="+mj-ea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+mj-ea"/>
                <a:ea typeface="+mj-ea"/>
              </a:rPr>
              <a:t>大規模、ミッション・クリティカルな</a:t>
            </a:r>
            <a:b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+mj-ea"/>
                <a:ea typeface="+mj-ea"/>
              </a:rPr>
            </a:b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+mj-ea"/>
                <a:ea typeface="+mj-ea"/>
              </a:rPr>
              <a:t>仮想マシンを</a:t>
            </a:r>
            <a:r>
              <a:rPr kumimoji="0" lang="ja-JP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ea"/>
                <a:ea typeface="+mj-ea"/>
              </a:rPr>
              <a:t>業務影響なく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+mj-ea"/>
                <a:ea typeface="+mj-ea"/>
              </a:rPr>
              <a:t>バックアップ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0" marR="0" lvl="0" indent="0" algn="l" defTabSz="51433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</a:rPr>
              <a:t>データムーバーと新しいスナップショット技術は</a:t>
            </a:r>
            <a:r>
              <a:rPr kumimoji="0" lang="ja-JP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ea"/>
                <a:ea typeface="+mj-ea"/>
              </a:rPr>
              <a:t>デル・テクノロジーズにより開発</a:t>
            </a: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ea"/>
              <a:ea typeface="+mj-ea"/>
            </a:endParaRPr>
          </a:p>
          <a:p>
            <a:pPr marL="0" marR="0" lvl="0" indent="0" algn="l" defTabSz="51433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可用性の観点で断念していた</a:t>
            </a:r>
            <a:r>
              <a:rPr kumimoji="0" lang="ja-JP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「保護できなかった」仮想マシンを保護対象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に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  <a:p>
            <a:pPr marL="0" marR="0" lvl="0" indent="0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物理環境に据え置いていた</a:t>
            </a:r>
            <a:r>
              <a:rPr kumimoji="0" lang="ja-JP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大規模データセットのシステム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を仮想化することが可能に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  <a:p>
            <a:pPr marL="214313" marR="0" lvl="0" indent="-214313" algn="l" defTabSz="5143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Char char="•"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長年お客様が抱えていた</a:t>
            </a:r>
            <a:r>
              <a:rPr kumimoji="0" lang="ja-JP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課題を解決</a:t>
            </a: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する</a:t>
            </a:r>
            <a:b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</a:br>
            <a:r>
              <a:rPr kumimoji="0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Arial"/>
              </a:rPr>
              <a:t>イノベーションの提供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ea"/>
              <a:ea typeface="+mj-ea"/>
              <a:cs typeface="Arial"/>
            </a:endParaRPr>
          </a:p>
        </p:txBody>
      </p:sp>
      <p:sp>
        <p:nvSpPr>
          <p:cNvPr id="34" name="Rectangle 9">
            <a:extLst>
              <a:ext uri="{FF2B5EF4-FFF2-40B4-BE49-F238E27FC236}">
                <a16:creationId xmlns:a16="http://schemas.microsoft.com/office/drawing/2014/main" id="{3D4422E6-1017-4061-821C-F73ECDB92EAD}"/>
              </a:ext>
            </a:extLst>
          </p:cNvPr>
          <p:cNvSpPr/>
          <p:nvPr/>
        </p:nvSpPr>
        <p:spPr>
          <a:xfrm>
            <a:off x="1056995" y="3847069"/>
            <a:ext cx="681636" cy="426484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Transparent Snapshot Data Mover</a:t>
            </a:r>
          </a:p>
        </p:txBody>
      </p:sp>
    </p:spTree>
    <p:extLst>
      <p:ext uri="{BB962C8B-B14F-4D97-AF65-F5344CB8AC3E}">
        <p14:creationId xmlns:p14="http://schemas.microsoft.com/office/powerpoint/2010/main" val="9966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D4E08B6-DC77-4E7B-86B0-336A98EF2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24018"/>
            <a:ext cx="8572500" cy="387798"/>
          </a:xfrm>
        </p:spPr>
        <p:txBody>
          <a:bodyPr/>
          <a:lstStyle/>
          <a:p>
            <a:r>
              <a:rPr kumimoji="1" lang="ja-JP" altLang="en-US" dirty="0">
                <a:latin typeface="+mn-ea"/>
                <a:ea typeface="+mn-ea"/>
              </a:rPr>
              <a:t>検証結果</a:t>
            </a:r>
            <a:r>
              <a:rPr kumimoji="1" lang="en-US" altLang="ja-JP" dirty="0">
                <a:latin typeface="+mn-ea"/>
                <a:ea typeface="+mn-ea"/>
              </a:rPr>
              <a:t>)</a:t>
            </a:r>
            <a:r>
              <a:rPr kumimoji="1" lang="ja-JP" altLang="en-US" dirty="0">
                <a:latin typeface="+mn-ea"/>
                <a:ea typeface="+mn-ea"/>
              </a:rPr>
              <a:t>対象</a:t>
            </a:r>
            <a:r>
              <a:rPr kumimoji="1" lang="en-US" altLang="ja-JP" dirty="0">
                <a:latin typeface="+mn-ea"/>
                <a:ea typeface="+mn-ea"/>
              </a:rPr>
              <a:t>VM</a:t>
            </a:r>
            <a:r>
              <a:rPr kumimoji="1" lang="ja-JP" altLang="en-US" dirty="0">
                <a:latin typeface="+mn-ea"/>
                <a:ea typeface="+mn-ea"/>
              </a:rPr>
              <a:t>の </a:t>
            </a:r>
            <a:r>
              <a:rPr kumimoji="1" lang="en-US" altLang="ja-JP" dirty="0">
                <a:latin typeface="+mn-ea"/>
                <a:ea typeface="+mn-ea"/>
              </a:rPr>
              <a:t>IO Rate </a:t>
            </a:r>
            <a:r>
              <a:rPr kumimoji="1" lang="ja-JP" altLang="en-US" dirty="0">
                <a:latin typeface="+mn-ea"/>
                <a:ea typeface="+mn-ea"/>
              </a:rPr>
              <a:t>の推移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F103361F-AA08-43AD-809D-A7967019DB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0834" y="519201"/>
            <a:ext cx="5760551" cy="2177712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9D864A04-2176-4E56-BE71-174E438D3D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0835" y="2817854"/>
            <a:ext cx="5760550" cy="2201628"/>
          </a:xfrm>
          <a:prstGeom prst="rect">
            <a:avLst/>
          </a:prstGeom>
        </p:spPr>
      </p:pic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15A0FA35-3619-4D33-8C59-E74074C0A6B4}"/>
              </a:ext>
            </a:extLst>
          </p:cNvPr>
          <p:cNvSpPr txBox="1"/>
          <p:nvPr/>
        </p:nvSpPr>
        <p:spPr>
          <a:xfrm>
            <a:off x="285750" y="1661830"/>
            <a:ext cx="1261563" cy="4078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ADP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処理時間：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03m:02s</a:t>
            </a:r>
            <a:endParaRPr kumimoji="1" lang="ja-JP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D014697-D17C-474F-BD73-7D16E236ADE7}"/>
              </a:ext>
            </a:extLst>
          </p:cNvPr>
          <p:cNvSpPr txBox="1"/>
          <p:nvPr/>
        </p:nvSpPr>
        <p:spPr>
          <a:xfrm>
            <a:off x="285750" y="3750659"/>
            <a:ext cx="1261563" cy="4078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TSDM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処理時間：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03m:32s</a:t>
            </a:r>
            <a:endParaRPr kumimoji="1" lang="ja-JP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141AD92-5BDB-41D9-9C73-4102A8710466}"/>
              </a:ext>
            </a:extLst>
          </p:cNvPr>
          <p:cNvSpPr txBox="1"/>
          <p:nvPr/>
        </p:nvSpPr>
        <p:spPr>
          <a:xfrm>
            <a:off x="7812360" y="2211710"/>
            <a:ext cx="93610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1" lang="en-US" altLang="ja-JP" sz="1200" dirty="0">
                <a:solidFill>
                  <a:schemeClr val="tx2"/>
                </a:solidFill>
              </a:rPr>
              <a:t>VADP</a:t>
            </a:r>
            <a:r>
              <a:rPr kumimoji="1" lang="ja-JP" altLang="en-US" sz="1200" dirty="0">
                <a:solidFill>
                  <a:schemeClr val="tx2"/>
                </a:solidFill>
              </a:rPr>
              <a:t>では</a:t>
            </a:r>
            <a:r>
              <a:rPr kumimoji="1" lang="en-US" altLang="ja-JP" sz="1200" dirty="0">
                <a:solidFill>
                  <a:schemeClr val="tx2"/>
                </a:solidFill>
              </a:rPr>
              <a:t>Stun</a:t>
            </a:r>
            <a:r>
              <a:rPr kumimoji="1" lang="ja-JP" altLang="en-US" sz="1200" dirty="0">
                <a:solidFill>
                  <a:schemeClr val="tx2"/>
                </a:solidFill>
              </a:rPr>
              <a:t>が発生</a:t>
            </a:r>
          </a:p>
        </p:txBody>
      </p:sp>
      <p:sp>
        <p:nvSpPr>
          <p:cNvPr id="11" name="楕円 10">
            <a:extLst>
              <a:ext uri="{FF2B5EF4-FFF2-40B4-BE49-F238E27FC236}">
                <a16:creationId xmlns:a16="http://schemas.microsoft.com/office/drawing/2014/main" id="{94C8D2DA-11A6-42A9-8B41-7B4B4D5A4993}"/>
              </a:ext>
            </a:extLst>
          </p:cNvPr>
          <p:cNvSpPr/>
          <p:nvPr/>
        </p:nvSpPr>
        <p:spPr>
          <a:xfrm>
            <a:off x="8136396" y="1937128"/>
            <a:ext cx="288032" cy="129406"/>
          </a:xfrm>
          <a:prstGeom prst="ellipse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1449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BC6152-A04B-44CA-A0C3-8A4E7FFC5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0" tIns="0" rIns="0" bIns="0" anchor="t">
            <a:spAutoFit/>
          </a:bodyPr>
          <a:lstStyle/>
          <a:p>
            <a:r>
              <a:rPr kumimoji="1" lang="ja-JP" altLang="en-US">
                <a:latin typeface="+mn-ea"/>
                <a:ea typeface="+mn-ea"/>
              </a:rPr>
              <a:t>検証結果</a:t>
            </a:r>
            <a:r>
              <a:rPr kumimoji="1" lang="en-US" altLang="ja-JP">
                <a:latin typeface="+mn-ea"/>
                <a:ea typeface="+mn-ea"/>
              </a:rPr>
              <a:t>)</a:t>
            </a:r>
            <a:r>
              <a:rPr lang="en-US">
                <a:latin typeface="Arial"/>
                <a:cs typeface="Arial"/>
              </a:rPr>
              <a:t>Traditional VADP</a:t>
            </a:r>
            <a:endParaRPr lang="en-US"/>
          </a:p>
        </p:txBody>
      </p:sp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7F559EF1-F881-48BB-83E3-D966A73B53C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9275" y="716483"/>
            <a:ext cx="7904290" cy="2080197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F177B38-A02A-40D0-83A2-0B98DE237B6A}"/>
              </a:ext>
            </a:extLst>
          </p:cNvPr>
          <p:cNvSpPr/>
          <p:nvPr/>
        </p:nvSpPr>
        <p:spPr>
          <a:xfrm>
            <a:off x="2725488" y="896599"/>
            <a:ext cx="1577638" cy="36929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chemeClr val="bg2"/>
                </a:solidFill>
                <a:cs typeface="Arial"/>
              </a:rPr>
              <a:t>Traditional</a:t>
            </a:r>
            <a:endParaRPr lang="en-US" sz="1200" b="1">
              <a:solidFill>
                <a:schemeClr val="bg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AF8C2A-1C9D-4ABB-8E45-66636073822B}"/>
              </a:ext>
            </a:extLst>
          </p:cNvPr>
          <p:cNvSpPr/>
          <p:nvPr/>
        </p:nvSpPr>
        <p:spPr>
          <a:xfrm>
            <a:off x="6669343" y="876108"/>
            <a:ext cx="1214091" cy="36929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chemeClr val="bg2"/>
                </a:solidFill>
                <a:cs typeface="Arial"/>
              </a:rPr>
              <a:t>Traditional</a:t>
            </a:r>
            <a:endParaRPr lang="en-US" sz="1200" b="1">
              <a:solidFill>
                <a:schemeClr val="bg2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A9BCCEE-3192-4A28-A190-0194E58793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012" y="2965276"/>
            <a:ext cx="7925553" cy="18313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BD407CB-3485-4FE5-B89F-4652CD8E996B}"/>
              </a:ext>
            </a:extLst>
          </p:cNvPr>
          <p:cNvSpPr/>
          <p:nvPr/>
        </p:nvSpPr>
        <p:spPr>
          <a:xfrm>
            <a:off x="2920737" y="2976796"/>
            <a:ext cx="1043448" cy="317485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chemeClr val="bg2"/>
                </a:solidFill>
                <a:cs typeface="Arial"/>
              </a:rPr>
              <a:t>Traditional</a:t>
            </a:r>
            <a:endParaRPr lang="en-US" sz="1200" b="1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3B3113-E7CB-4167-B710-F18C5404CE49}"/>
              </a:ext>
            </a:extLst>
          </p:cNvPr>
          <p:cNvSpPr/>
          <p:nvPr/>
        </p:nvSpPr>
        <p:spPr>
          <a:xfrm>
            <a:off x="6801174" y="2976796"/>
            <a:ext cx="1043448" cy="317485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chemeClr val="bg2"/>
                </a:solidFill>
                <a:cs typeface="Arial"/>
              </a:rPr>
              <a:t>Traditional</a:t>
            </a:r>
            <a:endParaRPr lang="en-US" sz="12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189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BC6152-A04B-44CA-A0C3-8A4E7FFC5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0" tIns="0" rIns="0" bIns="0" anchor="t">
            <a:spAutoFit/>
          </a:bodyPr>
          <a:lstStyle/>
          <a:p>
            <a:r>
              <a:rPr kumimoji="1" lang="ja-JP" altLang="en-US">
                <a:latin typeface="+mn-ea"/>
                <a:ea typeface="+mn-ea"/>
              </a:rPr>
              <a:t>検証結果</a:t>
            </a:r>
            <a:r>
              <a:rPr kumimoji="1" lang="en-US" altLang="ja-JP">
                <a:latin typeface="+mn-ea"/>
                <a:ea typeface="+mn-ea"/>
              </a:rPr>
              <a:t>) </a:t>
            </a:r>
            <a:r>
              <a:rPr lang="en-US">
                <a:latin typeface="Arial"/>
                <a:cs typeface="Arial"/>
              </a:rPr>
              <a:t>Transparent Snapshots </a:t>
            </a:r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21EBC90-6FEE-4387-AB03-9293BFF8D88A}"/>
              </a:ext>
            </a:extLst>
          </p:cNvPr>
          <p:cNvGrpSpPr/>
          <p:nvPr/>
        </p:nvGrpSpPr>
        <p:grpSpPr>
          <a:xfrm>
            <a:off x="312942" y="803365"/>
            <a:ext cx="8518115" cy="1638823"/>
            <a:chOff x="1246239" y="2804345"/>
            <a:chExt cx="7563771" cy="191606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23C15C2-1272-41FB-A768-AB2FD51C93E3}"/>
                </a:ext>
              </a:extLst>
            </p:cNvPr>
            <p:cNvSpPr/>
            <p:nvPr/>
          </p:nvSpPr>
          <p:spPr>
            <a:xfrm>
              <a:off x="1246546" y="2804345"/>
              <a:ext cx="7563464" cy="1916061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2"/>
                </a:solidFill>
              </a:endParaRPr>
            </a:p>
          </p:txBody>
        </p:sp>
        <p:pic>
          <p:nvPicPr>
            <p:cNvPr id="9" name="Picture 9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D6B7D9FF-E259-4553-B37B-1D5DC6EE28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46239" y="2877587"/>
              <a:ext cx="4218039" cy="1840244"/>
            </a:xfrm>
            <a:prstGeom prst="rect">
              <a:avLst/>
            </a:prstGeom>
          </p:spPr>
        </p:pic>
        <p:pic>
          <p:nvPicPr>
            <p:cNvPr id="10" name="Picture 10" descr="Chart, waterfall chart&#10;&#10;Description automatically generated">
              <a:extLst>
                <a:ext uri="{FF2B5EF4-FFF2-40B4-BE49-F238E27FC236}">
                  <a16:creationId xmlns:a16="http://schemas.microsoft.com/office/drawing/2014/main" id="{876BE352-B35C-4A7F-BAEC-512B0D2AD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99256" y="2985959"/>
              <a:ext cx="3701845" cy="1719688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E0AC34-46A3-4DEE-92E6-9B65CC98D41D}"/>
                </a:ext>
              </a:extLst>
            </p:cNvPr>
            <p:cNvSpPr/>
            <p:nvPr/>
          </p:nvSpPr>
          <p:spPr>
            <a:xfrm>
              <a:off x="3463080" y="2962579"/>
              <a:ext cx="1086464" cy="29988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200" b="1">
                  <a:solidFill>
                    <a:schemeClr val="bg2"/>
                  </a:solidFill>
                  <a:cs typeface="Arial"/>
                </a:rPr>
                <a:t>Transparent</a:t>
              </a:r>
              <a:endParaRPr lang="en-US" sz="1200" b="1">
                <a:solidFill>
                  <a:schemeClr val="bg2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F6861BD-C735-478F-8629-0951C7F9552A}"/>
                </a:ext>
              </a:extLst>
            </p:cNvPr>
            <p:cNvSpPr/>
            <p:nvPr/>
          </p:nvSpPr>
          <p:spPr>
            <a:xfrm>
              <a:off x="7213872" y="3042465"/>
              <a:ext cx="1086464" cy="29988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200" b="1">
                  <a:solidFill>
                    <a:schemeClr val="bg2"/>
                  </a:solidFill>
                  <a:cs typeface="Arial"/>
                </a:rPr>
                <a:t>Transparent</a:t>
              </a:r>
              <a:endParaRPr lang="en-US" sz="1200" b="1">
                <a:solidFill>
                  <a:schemeClr val="bg2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39E1C99-BA6B-45E0-8F35-F753EB821BF8}"/>
              </a:ext>
            </a:extLst>
          </p:cNvPr>
          <p:cNvGrpSpPr/>
          <p:nvPr/>
        </p:nvGrpSpPr>
        <p:grpSpPr>
          <a:xfrm>
            <a:off x="340481" y="2687117"/>
            <a:ext cx="8517769" cy="1945937"/>
            <a:chOff x="285750" y="1548658"/>
            <a:chExt cx="8667352" cy="2008581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68AB479-4592-474C-A405-C802529872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24987"/>
            <a:stretch/>
          </p:blipFill>
          <p:spPr>
            <a:xfrm>
              <a:off x="285750" y="1548658"/>
              <a:ext cx="8667352" cy="2008581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E0AB76E-5002-4D7A-8645-918E0E82FC8D}"/>
                </a:ext>
              </a:extLst>
            </p:cNvPr>
            <p:cNvSpPr/>
            <p:nvPr/>
          </p:nvSpPr>
          <p:spPr>
            <a:xfrm>
              <a:off x="2970072" y="1689996"/>
              <a:ext cx="1214455" cy="40812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200" b="1">
                  <a:solidFill>
                    <a:schemeClr val="bg2"/>
                  </a:solidFill>
                  <a:cs typeface="Arial"/>
                </a:rPr>
                <a:t>Transparent</a:t>
              </a:r>
              <a:endParaRPr lang="en-US" sz="1200" b="1">
                <a:solidFill>
                  <a:schemeClr val="bg2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DFDBB56-F42D-4C00-A560-6B12FF38E3CB}"/>
                </a:ext>
              </a:extLst>
            </p:cNvPr>
            <p:cNvSpPr/>
            <p:nvPr/>
          </p:nvSpPr>
          <p:spPr>
            <a:xfrm>
              <a:off x="7532651" y="1689996"/>
              <a:ext cx="1214455" cy="408124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200" b="1">
                  <a:solidFill>
                    <a:schemeClr val="bg2"/>
                  </a:solidFill>
                  <a:cs typeface="Arial"/>
                </a:rPr>
                <a:t>Transparent</a:t>
              </a:r>
              <a:endParaRPr lang="en-US" sz="1200" b="1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39824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F5369140-D7E1-4319-9FE7-569355E37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パフォーマンスとスケーラビリティー</a:t>
            </a:r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F38E27AD-79A0-4480-8D9B-3F6682517CBB}"/>
              </a:ext>
            </a:extLst>
          </p:cNvPr>
          <p:cNvGraphicFramePr>
            <a:graphicFrameLocks noGrp="1"/>
          </p:cNvGraphicFramePr>
          <p:nvPr/>
        </p:nvGraphicFramePr>
        <p:xfrm>
          <a:off x="539552" y="978678"/>
          <a:ext cx="8280920" cy="1661160"/>
        </p:xfrm>
        <a:graphic>
          <a:graphicData uri="http://schemas.openxmlformats.org/drawingml/2006/table">
            <a:tbl>
              <a:tblPr/>
              <a:tblGrid>
                <a:gridCol w="4248472">
                  <a:extLst>
                    <a:ext uri="{9D8B030D-6E8A-4147-A177-3AD203B41FA5}">
                      <a16:colId xmlns:a16="http://schemas.microsoft.com/office/drawing/2014/main" val="1111219135"/>
                    </a:ext>
                  </a:extLst>
                </a:gridCol>
                <a:gridCol w="4032448">
                  <a:extLst>
                    <a:ext uri="{9D8B030D-6E8A-4147-A177-3AD203B41FA5}">
                      <a16:colId xmlns:a16="http://schemas.microsoft.com/office/drawing/2014/main" val="3105940083"/>
                    </a:ext>
                  </a:extLst>
                </a:gridCol>
              </a:tblGrid>
              <a:tr h="222885">
                <a:tc>
                  <a:txBody>
                    <a:bodyPr/>
                    <a:lstStyle/>
                    <a:p>
                      <a:pPr algn="ctr" fontAlgn="b"/>
                      <a:r>
                        <a:rPr lang="en-AU" sz="1600" dirty="0">
                          <a:solidFill>
                            <a:schemeClr val="tx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omponent</a:t>
                      </a:r>
                    </a:p>
                  </a:txBody>
                  <a:tcPr marL="68580" marR="68580" marT="34290" marB="34290" anchor="b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1600" dirty="0">
                          <a:solidFill>
                            <a:schemeClr val="tx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Maximum limit</a:t>
                      </a:r>
                    </a:p>
                  </a:txBody>
                  <a:tcPr marL="68580" marR="68580" marT="34290" marB="34290" anchor="b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292996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dirty="0" err="1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SXi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毎の最大保護対象仮想マシン数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Unlimited</a:t>
                      </a: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256347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ja-JP" sz="1100" dirty="0" err="1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SXi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毎の最大保護対象</a:t>
                      </a:r>
                      <a:r>
                        <a:rPr lang="en-US" altLang="ja-JP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VMDK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数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000</a:t>
                      </a: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984836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100" dirty="0" err="1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SXi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毎の最大バックアップ数</a:t>
                      </a:r>
                      <a:endParaRPr lang="en-US" altLang="ja-JP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ja-JP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endParaRPr lang="en-AU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7958943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VMDK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サイズ</a:t>
                      </a:r>
                      <a:endParaRPr lang="en-AU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AU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4 TB</a:t>
                      </a: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070700"/>
                  </a:ext>
                </a:extLst>
              </a:tr>
              <a:tr h="377190">
                <a:tc>
                  <a:txBody>
                    <a:bodyPr/>
                    <a:lstStyle/>
                    <a:p>
                      <a:pPr algn="l" fontAlgn="t"/>
                      <a:r>
                        <a:rPr lang="nb-NO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Transparent Snapshot Data Mover (TSDM)</a:t>
                      </a:r>
                    </a:p>
                  </a:txBody>
                  <a:tcPr marL="68580" marR="68580" marT="34290" marB="34290">
                    <a:lnL>
                      <a:noFill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大</a:t>
                      </a:r>
                      <a:r>
                        <a:rPr 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,000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仮想マシンバックアップ</a:t>
                      </a:r>
                      <a:br>
                        <a:rPr 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大</a:t>
                      </a:r>
                      <a:r>
                        <a:rPr lang="en-US" altLang="ja-JP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</a:t>
                      </a:r>
                      <a:r>
                        <a:rPr lang="ja-JP" altLang="en-US" sz="1100" dirty="0">
                          <a:solidFill>
                            <a:schemeClr val="bg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同時バックアップ</a:t>
                      </a:r>
                      <a:endParaRPr lang="en-US" sz="1100" dirty="0">
                        <a:solidFill>
                          <a:schemeClr val="bg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ABC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0561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3754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E5CB774-4DE0-754D-9585-A6905BC80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231B398-3FDE-2745-8139-EFF7A008CB9F}"/>
              </a:ext>
            </a:extLst>
          </p:cNvPr>
          <p:cNvGrpSpPr>
            <a:grpSpLocks noChangeAspect="1"/>
          </p:cNvGrpSpPr>
          <p:nvPr/>
        </p:nvGrpSpPr>
        <p:grpSpPr>
          <a:xfrm>
            <a:off x="817974" y="460112"/>
            <a:ext cx="7508052" cy="4223276"/>
            <a:chOff x="3119716" y="1756609"/>
            <a:chExt cx="2861534" cy="1609612"/>
          </a:xfrm>
          <a:solidFill>
            <a:schemeClr val="accent6">
              <a:alpha val="14000"/>
            </a:schemeClr>
          </a:solidFill>
        </p:grpSpPr>
        <p:pic>
          <p:nvPicPr>
            <p:cNvPr id="22" name="Graphic 21" descr="Add with solid fill">
              <a:extLst>
                <a:ext uri="{FF2B5EF4-FFF2-40B4-BE49-F238E27FC236}">
                  <a16:creationId xmlns:a16="http://schemas.microsoft.com/office/drawing/2014/main" id="{AA8F6DE4-03B1-E24C-AC13-99D3F7A29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52650" y="1756609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23" name="Graphic 22" descr="Add with solid fill">
              <a:extLst>
                <a:ext uri="{FF2B5EF4-FFF2-40B4-BE49-F238E27FC236}">
                  <a16:creationId xmlns:a16="http://schemas.microsoft.com/office/drawing/2014/main" id="{8F8C318F-1CD8-B743-A0B4-B18AE8835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19716" y="1756609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24" name="Graphic 23" descr="Add with solid fill">
              <a:extLst>
                <a:ext uri="{FF2B5EF4-FFF2-40B4-BE49-F238E27FC236}">
                  <a16:creationId xmlns:a16="http://schemas.microsoft.com/office/drawing/2014/main" id="{AFCB7756-FE5E-F146-A5DA-75B0838EC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52650" y="3137621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  <p:pic>
          <p:nvPicPr>
            <p:cNvPr id="25" name="Graphic 24" descr="Add with solid fill">
              <a:extLst>
                <a:ext uri="{FF2B5EF4-FFF2-40B4-BE49-F238E27FC236}">
                  <a16:creationId xmlns:a16="http://schemas.microsoft.com/office/drawing/2014/main" id="{9427C7ED-D042-874C-BD7F-BF9007D22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19716" y="3137621"/>
              <a:ext cx="228600" cy="228600"/>
            </a:xfrm>
            <a:prstGeom prst="rect">
              <a:avLst/>
            </a:prstGeom>
            <a:effectLst>
              <a:softEdge rad="25400"/>
            </a:effectLst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F5096D28-B47E-034F-9460-5795A920A324}"/>
              </a:ext>
            </a:extLst>
          </p:cNvPr>
          <p:cNvSpPr/>
          <p:nvPr/>
        </p:nvSpPr>
        <p:spPr>
          <a:xfrm>
            <a:off x="10657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0"/>
                </a:schemeClr>
              </a:gs>
              <a:gs pos="65000">
                <a:schemeClr val="tx2">
                  <a:alpha val="0"/>
                </a:schemeClr>
              </a:gs>
              <a:gs pos="99000">
                <a:schemeClr val="tx2">
                  <a:alpha val="6500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eiryo UI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00D8B6-D9EC-C341-8387-E89EE224A61C}"/>
              </a:ext>
            </a:extLst>
          </p:cNvPr>
          <p:cNvSpPr/>
          <p:nvPr/>
        </p:nvSpPr>
        <p:spPr>
          <a:xfrm>
            <a:off x="285750" y="1112440"/>
            <a:ext cx="8591888" cy="3226714"/>
          </a:xfrm>
          <a:prstGeom prst="rect">
            <a:avLst/>
          </a:prstGeom>
          <a:solidFill>
            <a:schemeClr val="accent6">
              <a:alpha val="1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eiryo UI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A747A5-FE98-414F-BDD4-6155C95D4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0" tIns="0" rIns="0" bIns="0" anchor="t">
            <a:spAutoFit/>
          </a:bodyPr>
          <a:lstStyle/>
          <a:p>
            <a:r>
              <a:rPr lang="en-US"/>
              <a:t>Transparent Snapshot</a:t>
            </a:r>
            <a:r>
              <a:rPr lang="ja-JP" altLang="en-US"/>
              <a:t>と他の方式の比較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2AB021-638F-7840-BC4D-21DB28D4AB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09" y="4838808"/>
            <a:ext cx="1078992" cy="140268"/>
          </a:xfrm>
          <a:prstGeom prst="rect">
            <a:avLst/>
          </a:prstGeom>
        </p:spPr>
      </p:pic>
      <p:sp>
        <p:nvSpPr>
          <p:cNvPr id="15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BC6F0FB3-50D3-4B48-B720-59699CC77934}"/>
              </a:ext>
            </a:extLst>
          </p:cNvPr>
          <p:cNvSpPr txBox="1"/>
          <p:nvPr/>
        </p:nvSpPr>
        <p:spPr>
          <a:xfrm>
            <a:off x="4200103" y="5022289"/>
            <a:ext cx="743793" cy="6925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Meiryo UI"/>
                <a:cs typeface="+mn-cs"/>
              </a:rPr>
              <a:t>© Copyright 2021 Dell Inc.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5924E22-CA7B-2743-AE35-03DA8ACE303E}"/>
              </a:ext>
            </a:extLst>
          </p:cNvPr>
          <p:cNvSpPr/>
          <p:nvPr/>
        </p:nvSpPr>
        <p:spPr>
          <a:xfrm>
            <a:off x="2143922" y="1114246"/>
            <a:ext cx="1856231" cy="3226714"/>
          </a:xfrm>
          <a:prstGeom prst="rect">
            <a:avLst/>
          </a:prstGeom>
          <a:gradFill>
            <a:gsLst>
              <a:gs pos="0">
                <a:schemeClr val="accent6">
                  <a:alpha val="65000"/>
                </a:schemeClr>
              </a:gs>
              <a:gs pos="26000">
                <a:schemeClr val="bg1"/>
              </a:gs>
              <a:gs pos="100000">
                <a:schemeClr val="accent1"/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+mn-cs"/>
            </a:endParaRPr>
          </a:p>
        </p:txBody>
      </p:sp>
      <p:graphicFrame>
        <p:nvGraphicFramePr>
          <p:cNvPr id="30" name="Table 3">
            <a:extLst>
              <a:ext uri="{FF2B5EF4-FFF2-40B4-BE49-F238E27FC236}">
                <a16:creationId xmlns:a16="http://schemas.microsoft.com/office/drawing/2014/main" id="{6F21231D-A813-AB46-B4EC-0DCC4EFBF0CA}"/>
              </a:ext>
            </a:extLst>
          </p:cNvPr>
          <p:cNvGraphicFramePr>
            <a:graphicFrameLocks noGrp="1"/>
          </p:cNvGraphicFramePr>
          <p:nvPr/>
        </p:nvGraphicFramePr>
        <p:xfrm>
          <a:off x="285750" y="1112440"/>
          <a:ext cx="8591888" cy="3230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8160">
                  <a:extLst>
                    <a:ext uri="{9D8B030D-6E8A-4147-A177-3AD203B41FA5}">
                      <a16:colId xmlns:a16="http://schemas.microsoft.com/office/drawing/2014/main" val="25272848"/>
                    </a:ext>
                  </a:extLst>
                </a:gridCol>
                <a:gridCol w="1856232">
                  <a:extLst>
                    <a:ext uri="{9D8B030D-6E8A-4147-A177-3AD203B41FA5}">
                      <a16:colId xmlns:a16="http://schemas.microsoft.com/office/drawing/2014/main" val="1790119401"/>
                    </a:ext>
                  </a:extLst>
                </a:gridCol>
                <a:gridCol w="1219374">
                  <a:extLst>
                    <a:ext uri="{9D8B030D-6E8A-4147-A177-3AD203B41FA5}">
                      <a16:colId xmlns:a16="http://schemas.microsoft.com/office/drawing/2014/main" val="3002695513"/>
                    </a:ext>
                  </a:extLst>
                </a:gridCol>
                <a:gridCol w="1219374">
                  <a:extLst>
                    <a:ext uri="{9D8B030D-6E8A-4147-A177-3AD203B41FA5}">
                      <a16:colId xmlns:a16="http://schemas.microsoft.com/office/drawing/2014/main" val="3973496711"/>
                    </a:ext>
                  </a:extLst>
                </a:gridCol>
                <a:gridCol w="1219374">
                  <a:extLst>
                    <a:ext uri="{9D8B030D-6E8A-4147-A177-3AD203B41FA5}">
                      <a16:colId xmlns:a16="http://schemas.microsoft.com/office/drawing/2014/main" val="2165146280"/>
                    </a:ext>
                  </a:extLst>
                </a:gridCol>
                <a:gridCol w="1219374">
                  <a:extLst>
                    <a:ext uri="{9D8B030D-6E8A-4147-A177-3AD203B41FA5}">
                      <a16:colId xmlns:a16="http://schemas.microsoft.com/office/drawing/2014/main" val="2761341810"/>
                    </a:ext>
                  </a:extLst>
                </a:gridCol>
              </a:tblGrid>
              <a:tr h="697118"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2"/>
                          </a:solidFill>
                          <a:latin typeface="+mn-lt"/>
                        </a:rPr>
                        <a:t>Transparent Snapshots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VADP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Custom VM Tool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Storage array snap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+mn-lt"/>
                        </a:rPr>
                        <a:t>Journaling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289357"/>
                  </a:ext>
                </a:extLst>
              </a:tr>
              <a:tr h="502650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低遅延</a:t>
                      </a:r>
                      <a:r>
                        <a:rPr lang="en-US" altLang="ja-JP" sz="1400" dirty="0">
                          <a:solidFill>
                            <a:schemeClr val="tx1"/>
                          </a:solidFill>
                          <a:latin typeface="+mn-lt"/>
                        </a:rPr>
                        <a:t>(VM</a:t>
                      </a:r>
                      <a:r>
                        <a:rPr lang="ja-JP" alt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スタン</a:t>
                      </a:r>
                      <a:r>
                        <a:rPr lang="en-US" altLang="ja-JP" sz="14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22860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en-US" sz="2400">
                          <a:solidFill>
                            <a:schemeClr val="accent2"/>
                          </a:solidFill>
                          <a:latin typeface="+mn-lt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276633"/>
                  </a:ext>
                </a:extLst>
              </a:tr>
              <a:tr h="499039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400">
                          <a:solidFill>
                            <a:schemeClr val="tx1"/>
                          </a:solidFill>
                          <a:latin typeface="+mn-lt"/>
                        </a:rPr>
                        <a:t>パフォーマンス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22860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2AF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550980"/>
                  </a:ext>
                </a:extLst>
              </a:tr>
              <a:tr h="499039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400">
                          <a:solidFill>
                            <a:schemeClr val="tx1"/>
                          </a:solidFill>
                          <a:latin typeface="+mn-lt"/>
                        </a:rPr>
                        <a:t>スケーラビリティー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22860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2AF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965857"/>
                  </a:ext>
                </a:extLst>
              </a:tr>
              <a:tr h="499039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400">
                          <a:solidFill>
                            <a:schemeClr val="tx1"/>
                          </a:solidFill>
                          <a:latin typeface="+mn-lt"/>
                        </a:rPr>
                        <a:t>シンプルさ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22860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2AF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2AF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89583"/>
                  </a:ext>
                </a:extLst>
              </a:tr>
              <a:tr h="499039">
                <a:tc>
                  <a:txBody>
                    <a:bodyPr/>
                    <a:lstStyle/>
                    <a:p>
                      <a:pPr algn="r"/>
                      <a:r>
                        <a:rPr lang="ja-JP" altLang="en-US" sz="1400">
                          <a:solidFill>
                            <a:schemeClr val="tx1"/>
                          </a:solidFill>
                          <a:latin typeface="+mn-lt"/>
                        </a:rPr>
                        <a:t>コスト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228600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6EA204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2AF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●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401562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4B5884F0-3BFD-DF41-B05B-159882E498E9}"/>
              </a:ext>
            </a:extLst>
          </p:cNvPr>
          <p:cNvGrpSpPr/>
          <p:nvPr/>
        </p:nvGrpSpPr>
        <p:grpSpPr>
          <a:xfrm>
            <a:off x="2399042" y="814268"/>
            <a:ext cx="1345990" cy="107527"/>
            <a:chOff x="2399042" y="107301"/>
            <a:chExt cx="1345990" cy="107527"/>
          </a:xfrm>
        </p:grpSpPr>
        <p:pic>
          <p:nvPicPr>
            <p:cNvPr id="33" name="Graphic 32" descr="Add with solid fill">
              <a:extLst>
                <a:ext uri="{FF2B5EF4-FFF2-40B4-BE49-F238E27FC236}">
                  <a16:creationId xmlns:a16="http://schemas.microsoft.com/office/drawing/2014/main" id="{C9C50AC1-5F01-044F-8449-19E42BBCE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37505" y="107301"/>
              <a:ext cx="107527" cy="107527"/>
            </a:xfrm>
            <a:prstGeom prst="rect">
              <a:avLst/>
            </a:prstGeom>
            <a:effectLst/>
          </p:spPr>
        </p:pic>
        <p:pic>
          <p:nvPicPr>
            <p:cNvPr id="34" name="Graphic 33" descr="Add with solid fill">
              <a:extLst>
                <a:ext uri="{FF2B5EF4-FFF2-40B4-BE49-F238E27FC236}">
                  <a16:creationId xmlns:a16="http://schemas.microsoft.com/office/drawing/2014/main" id="{F0E15D0E-4D28-D84D-857E-F19921F04B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399042" y="107301"/>
              <a:ext cx="107527" cy="107527"/>
            </a:xfrm>
            <a:prstGeom prst="rect">
              <a:avLst/>
            </a:prstGeom>
            <a:effectLst/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6DDAC5B-0A9A-8A44-9C29-84AD948F8EF6}"/>
              </a:ext>
            </a:extLst>
          </p:cNvPr>
          <p:cNvGrpSpPr/>
          <p:nvPr/>
        </p:nvGrpSpPr>
        <p:grpSpPr>
          <a:xfrm>
            <a:off x="2399042" y="4533411"/>
            <a:ext cx="1345990" cy="107527"/>
            <a:chOff x="2399042" y="756892"/>
            <a:chExt cx="1345990" cy="107527"/>
          </a:xfrm>
        </p:grpSpPr>
        <p:pic>
          <p:nvPicPr>
            <p:cNvPr id="35" name="Graphic 34" descr="Add with solid fill">
              <a:extLst>
                <a:ext uri="{FF2B5EF4-FFF2-40B4-BE49-F238E27FC236}">
                  <a16:creationId xmlns:a16="http://schemas.microsoft.com/office/drawing/2014/main" id="{E41170F2-66F2-F540-9FFF-9253F7277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37505" y="756892"/>
              <a:ext cx="107527" cy="107527"/>
            </a:xfrm>
            <a:prstGeom prst="rect">
              <a:avLst/>
            </a:prstGeom>
            <a:effectLst/>
          </p:spPr>
        </p:pic>
        <p:pic>
          <p:nvPicPr>
            <p:cNvPr id="36" name="Graphic 35" descr="Add with solid fill">
              <a:extLst>
                <a:ext uri="{FF2B5EF4-FFF2-40B4-BE49-F238E27FC236}">
                  <a16:creationId xmlns:a16="http://schemas.microsoft.com/office/drawing/2014/main" id="{4E954092-9FA8-634F-9C80-0C149A4D1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399042" y="756892"/>
              <a:ext cx="107527" cy="107527"/>
            </a:xfrm>
            <a:prstGeom prst="rect">
              <a:avLst/>
            </a:prstGeom>
            <a:effectLst/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11A7335-07B6-234B-A0FC-4F1BB7B460F7}"/>
              </a:ext>
            </a:extLst>
          </p:cNvPr>
          <p:cNvGrpSpPr/>
          <p:nvPr/>
        </p:nvGrpSpPr>
        <p:grpSpPr>
          <a:xfrm>
            <a:off x="2205318" y="1159350"/>
            <a:ext cx="1733438" cy="635064"/>
            <a:chOff x="2974488" y="1626730"/>
            <a:chExt cx="3151991" cy="1869369"/>
          </a:xfrm>
        </p:grpSpPr>
        <p:sp>
          <p:nvSpPr>
            <p:cNvPr id="38" name="Rectangle 10">
              <a:extLst>
                <a:ext uri="{FF2B5EF4-FFF2-40B4-BE49-F238E27FC236}">
                  <a16:creationId xmlns:a16="http://schemas.microsoft.com/office/drawing/2014/main" id="{A5ABD4C9-CC88-474E-A6FA-A8F3DDCF2F94}"/>
                </a:ext>
              </a:extLst>
            </p:cNvPr>
            <p:cNvSpPr>
              <a:spLocks/>
            </p:cNvSpPr>
            <p:nvPr/>
          </p:nvSpPr>
          <p:spPr>
            <a:xfrm>
              <a:off x="2974488" y="1626730"/>
              <a:ext cx="1428792" cy="928267"/>
            </a:xfrm>
            <a:custGeom>
              <a:avLst/>
              <a:gdLst>
                <a:gd name="connsiteX0" fmla="*/ 0 w 2861534"/>
                <a:gd name="connsiteY0" fmla="*/ 0 h 1609612"/>
                <a:gd name="connsiteX1" fmla="*/ 2861534 w 2861534"/>
                <a:gd name="connsiteY1" fmla="*/ 0 h 1609612"/>
                <a:gd name="connsiteX2" fmla="*/ 2861534 w 2861534"/>
                <a:gd name="connsiteY2" fmla="*/ 1609612 h 1609612"/>
                <a:gd name="connsiteX3" fmla="*/ 0 w 2861534"/>
                <a:gd name="connsiteY3" fmla="*/ 1609612 h 1609612"/>
                <a:gd name="connsiteX4" fmla="*/ 0 w 2861534"/>
                <a:gd name="connsiteY4" fmla="*/ 0 h 1609612"/>
                <a:gd name="connsiteX0" fmla="*/ 2861534 w 2952974"/>
                <a:gd name="connsiteY0" fmla="*/ 1609612 h 1701052"/>
                <a:gd name="connsiteX1" fmla="*/ 0 w 2952974"/>
                <a:gd name="connsiteY1" fmla="*/ 1609612 h 1701052"/>
                <a:gd name="connsiteX2" fmla="*/ 0 w 2952974"/>
                <a:gd name="connsiteY2" fmla="*/ 0 h 1701052"/>
                <a:gd name="connsiteX3" fmla="*/ 2861534 w 2952974"/>
                <a:gd name="connsiteY3" fmla="*/ 0 h 1701052"/>
                <a:gd name="connsiteX4" fmla="*/ 2952974 w 2952974"/>
                <a:gd name="connsiteY4" fmla="*/ 1701052 h 1701052"/>
                <a:gd name="connsiteX0" fmla="*/ 2861534 w 2861534"/>
                <a:gd name="connsiteY0" fmla="*/ 1609612 h 1609612"/>
                <a:gd name="connsiteX1" fmla="*/ 0 w 2861534"/>
                <a:gd name="connsiteY1" fmla="*/ 1609612 h 1609612"/>
                <a:gd name="connsiteX2" fmla="*/ 0 w 2861534"/>
                <a:gd name="connsiteY2" fmla="*/ 0 h 1609612"/>
                <a:gd name="connsiteX3" fmla="*/ 2861534 w 2861534"/>
                <a:gd name="connsiteY3" fmla="*/ 0 h 1609612"/>
                <a:gd name="connsiteX0" fmla="*/ 0 w 2861534"/>
                <a:gd name="connsiteY0" fmla="*/ 1609612 h 1609612"/>
                <a:gd name="connsiteX1" fmla="*/ 0 w 2861534"/>
                <a:gd name="connsiteY1" fmla="*/ 0 h 1609612"/>
                <a:gd name="connsiteX2" fmla="*/ 2861534 w 2861534"/>
                <a:gd name="connsiteY2" fmla="*/ 0 h 160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61534" h="1609612">
                  <a:moveTo>
                    <a:pt x="0" y="1609612"/>
                  </a:moveTo>
                  <a:lnTo>
                    <a:pt x="0" y="0"/>
                  </a:lnTo>
                  <a:lnTo>
                    <a:pt x="2861534" y="0"/>
                  </a:lnTo>
                </a:path>
              </a:pathLst>
            </a:custGeom>
            <a:solidFill>
              <a:schemeClr val="bg1">
                <a:alpha val="0"/>
              </a:schemeClr>
            </a:solidFill>
            <a:ln w="12700">
              <a:solidFill>
                <a:schemeClr val="tx2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iryo UI"/>
                <a:cs typeface="+mn-cs"/>
              </a:endParaRPr>
            </a:p>
          </p:txBody>
        </p:sp>
        <p:sp>
          <p:nvSpPr>
            <p:cNvPr id="39" name="Rectangle 10">
              <a:extLst>
                <a:ext uri="{FF2B5EF4-FFF2-40B4-BE49-F238E27FC236}">
                  <a16:creationId xmlns:a16="http://schemas.microsoft.com/office/drawing/2014/main" id="{2F3D6ABC-8218-6D40-AE71-2DDA286F2D92}"/>
                </a:ext>
              </a:extLst>
            </p:cNvPr>
            <p:cNvSpPr>
              <a:spLocks/>
            </p:cNvSpPr>
            <p:nvPr/>
          </p:nvSpPr>
          <p:spPr>
            <a:xfrm rot="10800000">
              <a:off x="4697687" y="2567832"/>
              <a:ext cx="1428792" cy="928267"/>
            </a:xfrm>
            <a:custGeom>
              <a:avLst/>
              <a:gdLst>
                <a:gd name="connsiteX0" fmla="*/ 0 w 2861534"/>
                <a:gd name="connsiteY0" fmla="*/ 0 h 1609612"/>
                <a:gd name="connsiteX1" fmla="*/ 2861534 w 2861534"/>
                <a:gd name="connsiteY1" fmla="*/ 0 h 1609612"/>
                <a:gd name="connsiteX2" fmla="*/ 2861534 w 2861534"/>
                <a:gd name="connsiteY2" fmla="*/ 1609612 h 1609612"/>
                <a:gd name="connsiteX3" fmla="*/ 0 w 2861534"/>
                <a:gd name="connsiteY3" fmla="*/ 1609612 h 1609612"/>
                <a:gd name="connsiteX4" fmla="*/ 0 w 2861534"/>
                <a:gd name="connsiteY4" fmla="*/ 0 h 1609612"/>
                <a:gd name="connsiteX0" fmla="*/ 2861534 w 2952974"/>
                <a:gd name="connsiteY0" fmla="*/ 1609612 h 1701052"/>
                <a:gd name="connsiteX1" fmla="*/ 0 w 2952974"/>
                <a:gd name="connsiteY1" fmla="*/ 1609612 h 1701052"/>
                <a:gd name="connsiteX2" fmla="*/ 0 w 2952974"/>
                <a:gd name="connsiteY2" fmla="*/ 0 h 1701052"/>
                <a:gd name="connsiteX3" fmla="*/ 2861534 w 2952974"/>
                <a:gd name="connsiteY3" fmla="*/ 0 h 1701052"/>
                <a:gd name="connsiteX4" fmla="*/ 2952974 w 2952974"/>
                <a:gd name="connsiteY4" fmla="*/ 1701052 h 1701052"/>
                <a:gd name="connsiteX0" fmla="*/ 2861534 w 2861534"/>
                <a:gd name="connsiteY0" fmla="*/ 1609612 h 1609612"/>
                <a:gd name="connsiteX1" fmla="*/ 0 w 2861534"/>
                <a:gd name="connsiteY1" fmla="*/ 1609612 h 1609612"/>
                <a:gd name="connsiteX2" fmla="*/ 0 w 2861534"/>
                <a:gd name="connsiteY2" fmla="*/ 0 h 1609612"/>
                <a:gd name="connsiteX3" fmla="*/ 2861534 w 2861534"/>
                <a:gd name="connsiteY3" fmla="*/ 0 h 1609612"/>
                <a:gd name="connsiteX0" fmla="*/ 0 w 2861534"/>
                <a:gd name="connsiteY0" fmla="*/ 1609612 h 1609612"/>
                <a:gd name="connsiteX1" fmla="*/ 0 w 2861534"/>
                <a:gd name="connsiteY1" fmla="*/ 0 h 1609612"/>
                <a:gd name="connsiteX2" fmla="*/ 2861534 w 2861534"/>
                <a:gd name="connsiteY2" fmla="*/ 0 h 160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61534" h="1609612">
                  <a:moveTo>
                    <a:pt x="0" y="1609612"/>
                  </a:moveTo>
                  <a:lnTo>
                    <a:pt x="0" y="0"/>
                  </a:lnTo>
                  <a:lnTo>
                    <a:pt x="2861534" y="0"/>
                  </a:lnTo>
                </a:path>
              </a:pathLst>
            </a:custGeom>
            <a:solidFill>
              <a:schemeClr val="bg1">
                <a:alpha val="0"/>
              </a:schemeClr>
            </a:solidFill>
            <a:ln w="12700">
              <a:solidFill>
                <a:schemeClr val="tx2"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iryo UI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716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9B3BEE4-A331-4423-8156-8C059E36E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443198"/>
          </a:xfrm>
        </p:spPr>
        <p:txBody>
          <a:bodyPr/>
          <a:lstStyle/>
          <a:p>
            <a:r>
              <a:rPr kumimoji="1" lang="en-US" altLang="ja-JP" dirty="0"/>
              <a:t>TRANSPARENT SNAPSHOTS : </a:t>
            </a:r>
            <a:r>
              <a:rPr kumimoji="1" lang="ja-JP" altLang="en-US" sz="3200" dirty="0"/>
              <a:t>サマリー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5CBFD79-82AD-4908-8A75-2F42FF0608D8}"/>
              </a:ext>
            </a:extLst>
          </p:cNvPr>
          <p:cNvSpPr txBox="1"/>
          <p:nvPr/>
        </p:nvSpPr>
        <p:spPr>
          <a:xfrm>
            <a:off x="285750" y="655783"/>
            <a:ext cx="8765865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シングル・ジョブでは、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ADP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と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TSD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バックアップにおいて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TSD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バックアップが特段にパフォーマンスが良いという結果は得られなかった。（ほぼ同じ）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マルチ・ジョブでは、全体的な性能向上の可能性はある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現時点では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バックアップ処理性能向上の訴求は避けた方がよい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。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ADP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バックアップでは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に負荷をかけた場合に、バックアップ中の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の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IO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が低下し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スナップショット処理時に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 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Stun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が発生するのに対して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TSD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バックアップでは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 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Stun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は発生せず、バックアップ中の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の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IO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も下がることが少なく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内の処理に影響が少ないバックアップ方式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と言える。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Mware 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スナップショットでは、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Redo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ログファイル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(*</a:t>
            </a: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delta.vmdk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/*</a:t>
            </a: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sesparse.vmdk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)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は作成されないので、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余分なディスクは消費しない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。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628650" marR="0" lvl="1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スナップショットのゴミでディスクを圧迫することもない。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628650" marR="0" lvl="1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ESXi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サーバーの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CPU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負荷は、どちらも一緒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(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初回は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ADP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の方が低い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)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なので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vProxy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サーバをデプロイしないで済むくらいの訴求で、</a:t>
            </a:r>
            <a:b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</a:b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CPU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等のリソースはほとんど消費しないというような訴求は避けた方がよい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。</a:t>
            </a:r>
            <a:endParaRPr kumimoji="1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46342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E59267-D44E-4B77-BCD5-CC98EBFE6E07}"/>
              </a:ext>
            </a:extLst>
          </p:cNvPr>
          <p:cNvSpPr/>
          <p:nvPr/>
        </p:nvSpPr>
        <p:spPr>
          <a:xfrm>
            <a:off x="4008664" y="-2486"/>
            <a:ext cx="5135336" cy="5145986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1B076E-4324-3241-88BA-2880F14DEB7E}"/>
              </a:ext>
            </a:extLst>
          </p:cNvPr>
          <p:cNvSpPr txBox="1"/>
          <p:nvPr/>
        </p:nvSpPr>
        <p:spPr>
          <a:xfrm>
            <a:off x="4204609" y="426510"/>
            <a:ext cx="4572000" cy="276999"/>
          </a:xfrm>
          <a:prstGeom prst="rect">
            <a:avLst/>
          </a:prstGeom>
          <a:noFill/>
        </p:spPr>
        <p:txBody>
          <a:bodyPr wrap="square" lIns="45720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lang="en-US" sz="1800" b="1" cap="all" spc="300">
                <a:solidFill>
                  <a:srgbClr val="F2AF00"/>
                </a:solidFill>
                <a:latin typeface="Arial"/>
              </a:rPr>
              <a:t>Thanks for your GREAT partnership</a:t>
            </a:r>
            <a:endParaRPr kumimoji="0" lang="en-US" sz="1800" b="1" i="0" u="none" strike="noStrike" kern="1200" cap="all" spc="300" normalizeH="0" baseline="0">
              <a:ln>
                <a:noFill/>
              </a:ln>
              <a:solidFill>
                <a:srgbClr val="F2A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0F3A2AC-CFDA-44CE-A55B-49AED92B0A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72000" y="1132505"/>
            <a:ext cx="4191000" cy="3320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319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147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7D929C2-E6C3-4AAF-BA8C-43CD0CD39B48}"/>
              </a:ext>
            </a:extLst>
          </p:cNvPr>
          <p:cNvSpPr/>
          <p:nvPr/>
        </p:nvSpPr>
        <p:spPr>
          <a:xfrm>
            <a:off x="-3756" y="3799398"/>
            <a:ext cx="9139614" cy="647304"/>
          </a:xfrm>
          <a:prstGeom prst="rect">
            <a:avLst/>
          </a:prstGeom>
          <a:solidFill>
            <a:srgbClr val="002849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graphicFrame>
        <p:nvGraphicFramePr>
          <p:cNvPr id="18" name="Table 14">
            <a:extLst>
              <a:ext uri="{FF2B5EF4-FFF2-40B4-BE49-F238E27FC236}">
                <a16:creationId xmlns:a16="http://schemas.microsoft.com/office/drawing/2014/main" id="{503791DD-4673-4FF7-9D9E-0E4CBF1BECC1}"/>
              </a:ext>
            </a:extLst>
          </p:cNvPr>
          <p:cNvGraphicFramePr>
            <a:graphicFrameLocks noGrp="1"/>
          </p:cNvGraphicFramePr>
          <p:nvPr/>
        </p:nvGraphicFramePr>
        <p:xfrm>
          <a:off x="3" y="1800298"/>
          <a:ext cx="9147755" cy="12066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7755">
                  <a:extLst>
                    <a:ext uri="{9D8B030D-6E8A-4147-A177-3AD203B41FA5}">
                      <a16:colId xmlns:a16="http://schemas.microsoft.com/office/drawing/2014/main" val="182181225"/>
                    </a:ext>
                  </a:extLst>
                </a:gridCol>
              </a:tblGrid>
              <a:tr h="1206635">
                <a:tc>
                  <a:txBody>
                    <a:bodyPr/>
                    <a:lstStyle/>
                    <a:p>
                      <a:pPr algn="ctr"/>
                      <a:endParaRPr lang="en-US" sz="1400" b="0" i="0">
                        <a:solidFill>
                          <a:schemeClr val="bg2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45299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2BF30654-1059-4549-B2D8-5A41E3B83BDC}"/>
              </a:ext>
            </a:extLst>
          </p:cNvPr>
          <p:cNvSpPr/>
          <p:nvPr/>
        </p:nvSpPr>
        <p:spPr>
          <a:xfrm>
            <a:off x="0" y="3006934"/>
            <a:ext cx="9144000" cy="77916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>
                <a:solidFill>
                  <a:schemeClr val="tx2"/>
                </a:solidFill>
              </a:rPr>
              <a:t>ソフトウェア定義型のデータ保護ソリューション</a:t>
            </a:r>
            <a:endParaRPr lang="en-US" sz="2000" b="1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63AE36-7CA5-4E11-86D7-ABA171D96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1"/>
            <a:ext cx="8572500" cy="332399"/>
          </a:xfrm>
        </p:spPr>
        <p:txBody>
          <a:bodyPr/>
          <a:lstStyle/>
          <a:p>
            <a:r>
              <a:rPr lang="en-US" sz="2400"/>
              <a:t>PowerProtect Data Manager</a:t>
            </a:r>
            <a:r>
              <a:rPr lang="ja-JP" altLang="en-US" sz="2400"/>
              <a:t>（</a:t>
            </a:r>
            <a:r>
              <a:rPr lang="en-US" altLang="ja-JP" sz="2400"/>
              <a:t>PPDM</a:t>
            </a:r>
            <a:r>
              <a:rPr lang="ja-JP" altLang="en-US" sz="2400"/>
              <a:t>）</a:t>
            </a:r>
            <a:endParaRPr lang="en-US" sz="24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F6C676-8AC7-4C91-82B9-CB2DC097AFC5}"/>
              </a:ext>
            </a:extLst>
          </p:cNvPr>
          <p:cNvSpPr/>
          <p:nvPr/>
        </p:nvSpPr>
        <p:spPr>
          <a:xfrm>
            <a:off x="155288" y="1718367"/>
            <a:ext cx="2861217" cy="137215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信頼されたデータ</a:t>
            </a:r>
            <a:endParaRPr lang="en-US" altLang="ja-JP" sz="20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ja-JP" altLang="en-US"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保護及び復旧</a:t>
            </a:r>
            <a:endParaRPr lang="en-US" sz="20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0AB040-C0A8-4584-B4B2-62AB5DBEC285}"/>
              </a:ext>
            </a:extLst>
          </p:cNvPr>
          <p:cNvSpPr/>
          <p:nvPr/>
        </p:nvSpPr>
        <p:spPr>
          <a:xfrm>
            <a:off x="5851438" y="1718366"/>
            <a:ext cx="2794254" cy="137215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容易な操作性</a:t>
            </a:r>
            <a:endParaRPr lang="en-US" sz="20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EF0F6880-EFDD-4084-85E4-25D73D311EEA}"/>
              </a:ext>
            </a:extLst>
          </p:cNvPr>
          <p:cNvSpPr/>
          <p:nvPr/>
        </p:nvSpPr>
        <p:spPr>
          <a:xfrm rot="10800000">
            <a:off x="7546206" y="3017208"/>
            <a:ext cx="1597794" cy="1405924"/>
          </a:xfrm>
          <a:prstGeom prst="rtTriangle">
            <a:avLst/>
          </a:prstGeom>
          <a:gradFill>
            <a:gsLst>
              <a:gs pos="25000">
                <a:schemeClr val="accent6">
                  <a:alpha val="0"/>
                </a:schemeClr>
              </a:gs>
              <a:gs pos="99000">
                <a:schemeClr val="accent1">
                  <a:alpha val="40000"/>
                </a:schemeClr>
              </a:gs>
            </a:gsLst>
            <a:lin ang="27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A6B9E1D-B9C2-4C86-A745-3BB8504B36F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0975" y="1468004"/>
            <a:ext cx="3230155" cy="1577859"/>
          </a:xfrm>
          <a:prstGeom prst="rect">
            <a:avLst/>
          </a:prstGeom>
          <a:effectLst>
            <a:reflection blurRad="6350" stA="24000" endPos="21000" dir="5400000" sy="-100000" algn="bl" rotWithShape="0"/>
          </a:effectLst>
        </p:spPr>
      </p:pic>
      <p:sp>
        <p:nvSpPr>
          <p:cNvPr id="17" name="MSIPCMContentMarking" descr="{&quot;HashCode&quot;:-1876667767,&quot;Placement&quot;:&quot;Footer&quot;,&quot;Top&quot;:388.380066,&quot;Left&quot;:0.0,&quot;SlideWidth&quot;:720,&quot;SlideHeight&quot;:405}">
            <a:extLst>
              <a:ext uri="{FF2B5EF4-FFF2-40B4-BE49-F238E27FC236}">
                <a16:creationId xmlns:a16="http://schemas.microsoft.com/office/drawing/2014/main" id="{0E258312-1351-4C19-A8CF-7F4C66F13D9B}"/>
              </a:ext>
            </a:extLst>
          </p:cNvPr>
          <p:cNvSpPr txBox="1"/>
          <p:nvPr/>
        </p:nvSpPr>
        <p:spPr>
          <a:xfrm>
            <a:off x="1" y="4984101"/>
            <a:ext cx="1185008" cy="1077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r>
              <a:rPr lang="en-US" sz="700">
                <a:solidFill>
                  <a:schemeClr val="tx2"/>
                </a:solidFill>
                <a:latin typeface="Calibri" panose="020F0502020204030204" pitchFamily="34" charset="0"/>
              </a:rPr>
              <a:t>Internal Use - Confidenti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8F4853-0597-4E6A-9CFD-81DEB59630E3}"/>
              </a:ext>
            </a:extLst>
          </p:cNvPr>
          <p:cNvSpPr txBox="1"/>
          <p:nvPr/>
        </p:nvSpPr>
        <p:spPr>
          <a:xfrm>
            <a:off x="7159416" y="3871398"/>
            <a:ext cx="19574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VMware and open hyperviso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C80A35-C0F1-4B51-A2E4-726581CD819C}"/>
              </a:ext>
            </a:extLst>
          </p:cNvPr>
          <p:cNvSpPr txBox="1"/>
          <p:nvPr/>
        </p:nvSpPr>
        <p:spPr>
          <a:xfrm>
            <a:off x="5723294" y="3979120"/>
            <a:ext cx="14089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Kubernet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CD1D877-1824-4389-BE17-10136AD381E6}"/>
              </a:ext>
            </a:extLst>
          </p:cNvPr>
          <p:cNvSpPr txBox="1"/>
          <p:nvPr/>
        </p:nvSpPr>
        <p:spPr>
          <a:xfrm>
            <a:off x="4287170" y="3979123"/>
            <a:ext cx="14089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File syste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C0C99F0-F4EB-41DD-8836-AD1F2780F1C5}"/>
              </a:ext>
            </a:extLst>
          </p:cNvPr>
          <p:cNvSpPr txBox="1"/>
          <p:nvPr/>
        </p:nvSpPr>
        <p:spPr>
          <a:xfrm>
            <a:off x="2851046" y="3979120"/>
            <a:ext cx="14089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SAP HAN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C4C0856-349D-4B50-BFE9-4B64BB5BF142}"/>
              </a:ext>
            </a:extLst>
          </p:cNvPr>
          <p:cNvSpPr txBox="1"/>
          <p:nvPr/>
        </p:nvSpPr>
        <p:spPr>
          <a:xfrm>
            <a:off x="1950943" y="3979120"/>
            <a:ext cx="8729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SQ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3EB2722-5A58-4159-B18A-E1C9AFAE0059}"/>
              </a:ext>
            </a:extLst>
          </p:cNvPr>
          <p:cNvSpPr txBox="1"/>
          <p:nvPr/>
        </p:nvSpPr>
        <p:spPr>
          <a:xfrm>
            <a:off x="872434" y="3979123"/>
            <a:ext cx="10513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Exchang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51D4E9-2A08-466E-ACDA-B558CB58CD48}"/>
              </a:ext>
            </a:extLst>
          </p:cNvPr>
          <p:cNvSpPr txBox="1"/>
          <p:nvPr/>
        </p:nvSpPr>
        <p:spPr>
          <a:xfrm>
            <a:off x="27135" y="3979123"/>
            <a:ext cx="8181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tx2"/>
                </a:solidFill>
                <a:latin typeface="Arial" panose="020B0604020202020204" pitchFamily="34" charset="0"/>
              </a:rPr>
              <a:t>Orac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F158E66-7839-4801-AE34-F431EB78FD2F}"/>
              </a:ext>
            </a:extLst>
          </p:cNvPr>
          <p:cNvCxnSpPr>
            <a:cxnSpLocks/>
          </p:cNvCxnSpPr>
          <p:nvPr/>
        </p:nvCxnSpPr>
        <p:spPr>
          <a:xfrm>
            <a:off x="827774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E76743A-E532-473C-BD13-2D04A9EA820A}"/>
              </a:ext>
            </a:extLst>
          </p:cNvPr>
          <p:cNvCxnSpPr>
            <a:cxnSpLocks/>
          </p:cNvCxnSpPr>
          <p:nvPr/>
        </p:nvCxnSpPr>
        <p:spPr>
          <a:xfrm>
            <a:off x="1961594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DAE4ABC-EF92-4B1B-B68B-2AA6DF1866A0}"/>
              </a:ext>
            </a:extLst>
          </p:cNvPr>
          <p:cNvCxnSpPr>
            <a:cxnSpLocks/>
          </p:cNvCxnSpPr>
          <p:nvPr/>
        </p:nvCxnSpPr>
        <p:spPr>
          <a:xfrm>
            <a:off x="2823909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F9CB523-F38C-4ADC-A69B-D3D287686244}"/>
              </a:ext>
            </a:extLst>
          </p:cNvPr>
          <p:cNvCxnSpPr>
            <a:cxnSpLocks/>
          </p:cNvCxnSpPr>
          <p:nvPr/>
        </p:nvCxnSpPr>
        <p:spPr>
          <a:xfrm>
            <a:off x="4296249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BBA1D24-8B35-4F06-8D99-C89112C9B9F1}"/>
              </a:ext>
            </a:extLst>
          </p:cNvPr>
          <p:cNvCxnSpPr>
            <a:cxnSpLocks/>
          </p:cNvCxnSpPr>
          <p:nvPr/>
        </p:nvCxnSpPr>
        <p:spPr>
          <a:xfrm>
            <a:off x="5712236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0606613-9951-4510-B76C-87DC485CA0DA}"/>
              </a:ext>
            </a:extLst>
          </p:cNvPr>
          <p:cNvCxnSpPr>
            <a:cxnSpLocks/>
          </p:cNvCxnSpPr>
          <p:nvPr/>
        </p:nvCxnSpPr>
        <p:spPr>
          <a:xfrm>
            <a:off x="7132281" y="3949000"/>
            <a:ext cx="0" cy="334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ubtitle 2">
            <a:extLst>
              <a:ext uri="{FF2B5EF4-FFF2-40B4-BE49-F238E27FC236}">
                <a16:creationId xmlns:a16="http://schemas.microsoft.com/office/drawing/2014/main" id="{05B28756-3CDD-46C0-9459-E6887B5656DD}"/>
              </a:ext>
            </a:extLst>
          </p:cNvPr>
          <p:cNvSpPr txBox="1">
            <a:spLocks/>
          </p:cNvSpPr>
          <p:nvPr/>
        </p:nvSpPr>
        <p:spPr>
          <a:xfrm>
            <a:off x="611562" y="687884"/>
            <a:ext cx="7704856" cy="38779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algn="ctr" defTabSz="914355">
              <a:buNone/>
            </a:pPr>
            <a:r>
              <a:rPr lang="ja-JP" altLang="en-US" sz="1800" b="1" kern="0" dirty="0">
                <a:solidFill>
                  <a:schemeClr val="tx2"/>
                </a:solidFill>
              </a:rPr>
              <a:t>シンプル、効率的、セキュアに</a:t>
            </a:r>
            <a:r>
              <a:rPr lang="en-US" altLang="ja-JP" sz="1800" b="1" kern="0" dirty="0">
                <a:solidFill>
                  <a:schemeClr val="tx2"/>
                </a:solidFill>
              </a:rPr>
              <a:t>IT</a:t>
            </a:r>
            <a:r>
              <a:rPr lang="ja-JP" altLang="en-US" sz="1800" b="1" kern="0" dirty="0">
                <a:solidFill>
                  <a:schemeClr val="tx2"/>
                </a:solidFill>
              </a:rPr>
              <a:t>変革を促進する</a:t>
            </a:r>
            <a:endParaRPr lang="en-US" sz="1800" b="1" kern="0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354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5" grpId="0"/>
      <p:bldP spid="19" grpId="0"/>
      <p:bldP spid="21" grpId="0"/>
      <p:bldP spid="24" grpId="0"/>
      <p:bldP spid="26" grpId="0"/>
      <p:bldP spid="27" grpId="0"/>
      <p:bldP spid="31" grpId="0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3154A335-A8BB-4B21-B853-36DF6E4B86E3}"/>
              </a:ext>
            </a:extLst>
          </p:cNvPr>
          <p:cNvSpPr txBox="1"/>
          <p:nvPr/>
        </p:nvSpPr>
        <p:spPr>
          <a:xfrm>
            <a:off x="0" y="2156764"/>
            <a:ext cx="9144000" cy="193874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8575">
            <a:noFill/>
          </a:ln>
        </p:spPr>
        <p:txBody>
          <a:bodyPr wrap="square" rtlCol="0">
            <a:noAutofit/>
          </a:bodyPr>
          <a:lstStyle/>
          <a:p>
            <a:pPr defTabSz="685715">
              <a:buClr>
                <a:srgbClr val="007DB8"/>
              </a:buClr>
            </a:pPr>
            <a:endParaRPr lang="en-US" sz="1013">
              <a:solidFill>
                <a:srgbClr val="FFFFFF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4FD7F16-688E-814D-957D-B3A5B1F2FC72}"/>
              </a:ext>
            </a:extLst>
          </p:cNvPr>
          <p:cNvGrpSpPr/>
          <p:nvPr/>
        </p:nvGrpSpPr>
        <p:grpSpPr>
          <a:xfrm>
            <a:off x="2481217" y="2169754"/>
            <a:ext cx="1997471" cy="1535666"/>
            <a:chOff x="2002914" y="2244444"/>
            <a:chExt cx="1997471" cy="1535666"/>
          </a:xfrm>
        </p:grpSpPr>
        <p:sp>
          <p:nvSpPr>
            <p:cNvPr id="26" name="Content Placeholder 5">
              <a:extLst>
                <a:ext uri="{FF2B5EF4-FFF2-40B4-BE49-F238E27FC236}">
                  <a16:creationId xmlns:a16="http://schemas.microsoft.com/office/drawing/2014/main" id="{C8039750-77AD-DD46-A695-2858A13343D4}"/>
                </a:ext>
              </a:extLst>
            </p:cNvPr>
            <p:cNvSpPr txBox="1">
              <a:spLocks/>
            </p:cNvSpPr>
            <p:nvPr/>
          </p:nvSpPr>
          <p:spPr>
            <a:xfrm>
              <a:off x="2002914" y="2928227"/>
              <a:ext cx="1997471" cy="851883"/>
            </a:xfrm>
            <a:prstGeom prst="rect">
              <a:avLst/>
            </a:prstGeom>
          </p:spPr>
          <p:txBody>
            <a:bodyPr lIns="0" rIns="0"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AAAAAA"/>
                </a:buClr>
                <a:buFont typeface="Arial" pitchFamily="34" charset="0"/>
                <a:buChar char="•"/>
                <a:defRPr sz="1400">
                  <a:solidFill>
                    <a:srgbClr val="000000"/>
                  </a:solidFill>
                  <a:latin typeface="+mj-lt"/>
                  <a:ea typeface="Museo Sans For Dell" pitchFamily="2" charset="0"/>
                  <a:cs typeface="+mn-cs"/>
                </a:defRPr>
              </a:lvl1pPr>
              <a:lvl2pPr marL="574675" indent="-2333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–"/>
                <a:defRPr sz="12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2pPr>
              <a:lvl3pPr marL="909638" indent="-2206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›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3pPr>
              <a:lvl4pPr marL="1246188" indent="-222250" algn="l" rtl="0" eaLnBrk="1" fontAlgn="base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Courier New" panose="02070309020205020404" pitchFamily="49" charset="0"/>
                <a:buChar char="o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4pPr>
              <a:lvl5pPr marL="1608138" indent="-236538" algn="l" rtl="0" eaLnBrk="1" fontAlgn="base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chemeClr val="bg1"/>
                </a:buClr>
                <a:buFont typeface="Museo For Dell 300" pitchFamily="50" charset="0"/>
                <a:buChar char="–"/>
                <a:defRPr sz="1800">
                  <a:solidFill>
                    <a:schemeClr val="bg2"/>
                  </a:solidFill>
                  <a:latin typeface="Museo Sans For Dell" pitchFamily="2" charset="0"/>
                  <a:ea typeface="Museo Sans For Dell" pitchFamily="2" charset="0"/>
                </a:defRPr>
              </a:lvl5pPr>
              <a:lvl6pPr marL="20653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6pPr>
              <a:lvl7pPr marL="25225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7pPr>
              <a:lvl8pPr marL="29797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8pPr>
              <a:lvl9pPr marL="34369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9pPr>
            </a:lstStyle>
            <a:p>
              <a:pPr marL="0" indent="0" algn="ctr" defTabSz="685715">
                <a:buClr>
                  <a:srgbClr val="0076CE"/>
                </a:buClr>
                <a:buNone/>
              </a:pP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最大</a:t>
              </a:r>
              <a:r>
                <a:rPr lang="en-US" altLang="ja-JP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256 TB</a:t>
              </a: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まで</a:t>
              </a:r>
              <a:endParaRPr lang="en-US" altLang="ja-JP" sz="135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  <a:p>
              <a:pPr marL="0" indent="0" algn="ctr" defTabSz="685715">
                <a:buClr>
                  <a:srgbClr val="0076CE"/>
                </a:buClr>
                <a:buNone/>
              </a:pP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拡張可能な柔軟な容量</a:t>
              </a:r>
              <a:endParaRPr lang="en-US" sz="135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93A6284A-2384-DB48-BA91-B681AF024E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666684" y="2244444"/>
              <a:ext cx="583380" cy="58338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6BEE35-D0DB-F543-A2E3-61AFD063A062}"/>
              </a:ext>
            </a:extLst>
          </p:cNvPr>
          <p:cNvGrpSpPr/>
          <p:nvPr/>
        </p:nvGrpSpPr>
        <p:grpSpPr>
          <a:xfrm>
            <a:off x="4690483" y="2198802"/>
            <a:ext cx="1721615" cy="1473942"/>
            <a:chOff x="4444891" y="2286484"/>
            <a:chExt cx="1721615" cy="1473942"/>
          </a:xfrm>
        </p:grpSpPr>
        <p:sp>
          <p:nvSpPr>
            <p:cNvPr id="27" name="Content Placeholder 5">
              <a:extLst>
                <a:ext uri="{FF2B5EF4-FFF2-40B4-BE49-F238E27FC236}">
                  <a16:creationId xmlns:a16="http://schemas.microsoft.com/office/drawing/2014/main" id="{C16DAD0E-F08A-794D-AA80-468ED7766312}"/>
                </a:ext>
              </a:extLst>
            </p:cNvPr>
            <p:cNvSpPr txBox="1">
              <a:spLocks/>
            </p:cNvSpPr>
            <p:nvPr/>
          </p:nvSpPr>
          <p:spPr>
            <a:xfrm>
              <a:off x="4444891" y="2919358"/>
              <a:ext cx="1721615" cy="841068"/>
            </a:xfrm>
            <a:prstGeom prst="rect">
              <a:avLst/>
            </a:prstGeom>
          </p:spPr>
          <p:txBody>
            <a:bodyPr lIns="0" rIns="0"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AAAAAA"/>
                </a:buClr>
                <a:buFont typeface="Arial" pitchFamily="34" charset="0"/>
                <a:buChar char="•"/>
                <a:defRPr sz="1400">
                  <a:solidFill>
                    <a:srgbClr val="000000"/>
                  </a:solidFill>
                  <a:latin typeface="+mj-lt"/>
                  <a:ea typeface="Museo Sans For Dell" pitchFamily="2" charset="0"/>
                  <a:cs typeface="+mn-cs"/>
                </a:defRPr>
              </a:lvl1pPr>
              <a:lvl2pPr marL="574675" indent="-2333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–"/>
                <a:defRPr sz="12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2pPr>
              <a:lvl3pPr marL="909638" indent="-2206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›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3pPr>
              <a:lvl4pPr marL="1246188" indent="-222250" algn="l" rtl="0" eaLnBrk="1" fontAlgn="base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Courier New" panose="02070309020205020404" pitchFamily="49" charset="0"/>
                <a:buChar char="o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4pPr>
              <a:lvl5pPr marL="1608138" indent="-236538" algn="l" rtl="0" eaLnBrk="1" fontAlgn="base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chemeClr val="bg1"/>
                </a:buClr>
                <a:buFont typeface="Museo For Dell 300" pitchFamily="50" charset="0"/>
                <a:buChar char="–"/>
                <a:defRPr sz="1800">
                  <a:solidFill>
                    <a:schemeClr val="bg2"/>
                  </a:solidFill>
                  <a:latin typeface="Museo Sans For Dell" pitchFamily="2" charset="0"/>
                  <a:ea typeface="Museo Sans For Dell" pitchFamily="2" charset="0"/>
                </a:defRPr>
              </a:lvl5pPr>
              <a:lvl6pPr marL="20653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6pPr>
              <a:lvl7pPr marL="25225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7pPr>
              <a:lvl8pPr marL="29797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8pPr>
              <a:lvl9pPr marL="34369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9pPr>
            </a:lstStyle>
            <a:p>
              <a:pPr marL="0" indent="0" algn="ctr" defTabSz="685715">
                <a:buClr>
                  <a:srgbClr val="0076CE"/>
                </a:buClr>
                <a:buNone/>
              </a:pP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既存のインフラストラクチャを活用</a:t>
              </a:r>
              <a:endParaRPr lang="en-US" sz="135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22D4B6A2-DEC5-DB43-B13E-1697D81BD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85367" y="2286484"/>
              <a:ext cx="583380" cy="583380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1DB907E-CFE9-AC4A-A478-CF18D149C0C2}"/>
              </a:ext>
            </a:extLst>
          </p:cNvPr>
          <p:cNvGrpSpPr/>
          <p:nvPr/>
        </p:nvGrpSpPr>
        <p:grpSpPr>
          <a:xfrm>
            <a:off x="611508" y="2156784"/>
            <a:ext cx="1702968" cy="1537817"/>
            <a:chOff x="352982" y="2244462"/>
            <a:chExt cx="1702968" cy="1537817"/>
          </a:xfrm>
        </p:grpSpPr>
        <p:sp>
          <p:nvSpPr>
            <p:cNvPr id="28" name="Content Placeholder 5">
              <a:extLst>
                <a:ext uri="{FF2B5EF4-FFF2-40B4-BE49-F238E27FC236}">
                  <a16:creationId xmlns:a16="http://schemas.microsoft.com/office/drawing/2014/main" id="{2700F615-D5A3-0048-A3F1-6DD323C39912}"/>
                </a:ext>
              </a:extLst>
            </p:cNvPr>
            <p:cNvSpPr txBox="1">
              <a:spLocks/>
            </p:cNvSpPr>
            <p:nvPr/>
          </p:nvSpPr>
          <p:spPr>
            <a:xfrm>
              <a:off x="352982" y="2941216"/>
              <a:ext cx="1702968" cy="841063"/>
            </a:xfrm>
            <a:prstGeom prst="rect">
              <a:avLst/>
            </a:prstGeom>
          </p:spPr>
          <p:txBody>
            <a:bodyPr lIns="0" rIns="0"/>
            <a:lstStyle>
              <a:lvl1pPr marL="228600" indent="-228600" algn="l" rtl="0" eaLnBrk="1" fontAlgn="base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AAAAAA"/>
                </a:buClr>
                <a:buFont typeface="Arial" pitchFamily="34" charset="0"/>
                <a:buChar char="•"/>
                <a:defRPr sz="1400">
                  <a:solidFill>
                    <a:srgbClr val="000000"/>
                  </a:solidFill>
                  <a:latin typeface="+mj-lt"/>
                  <a:ea typeface="Museo Sans For Dell" pitchFamily="2" charset="0"/>
                  <a:cs typeface="+mn-cs"/>
                </a:defRPr>
              </a:lvl1pPr>
              <a:lvl2pPr marL="574675" indent="-2333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–"/>
                <a:defRPr sz="12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2pPr>
              <a:lvl3pPr marL="909638" indent="-220663" algn="l" rtl="0" eaLnBrk="1" fontAlgn="base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Museo Sans For Dell" pitchFamily="2" charset="0"/>
                <a:buChar char="›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3pPr>
              <a:lvl4pPr marL="1246188" indent="-222250" algn="l" rtl="0" eaLnBrk="1" fontAlgn="base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AAAAAA"/>
                </a:buClr>
                <a:buFont typeface="Courier New" panose="02070309020205020404" pitchFamily="49" charset="0"/>
                <a:buChar char="o"/>
                <a:defRPr sz="1000" baseline="0">
                  <a:solidFill>
                    <a:srgbClr val="000000"/>
                  </a:solidFill>
                  <a:latin typeface="+mj-lt"/>
                  <a:ea typeface="Museo Sans For Dell" pitchFamily="2" charset="0"/>
                </a:defRPr>
              </a:lvl4pPr>
              <a:lvl5pPr marL="1608138" indent="-236538" algn="l" rtl="0" eaLnBrk="1" fontAlgn="base" hangingPunct="1">
                <a:lnSpc>
                  <a:spcPct val="90000"/>
                </a:lnSpc>
                <a:spcBef>
                  <a:spcPts val="800"/>
                </a:spcBef>
                <a:spcAft>
                  <a:spcPct val="0"/>
                </a:spcAft>
                <a:buClr>
                  <a:schemeClr val="bg1"/>
                </a:buClr>
                <a:buFont typeface="Museo For Dell 300" pitchFamily="50" charset="0"/>
                <a:buChar char="–"/>
                <a:defRPr sz="1800">
                  <a:solidFill>
                    <a:schemeClr val="bg2"/>
                  </a:solidFill>
                  <a:latin typeface="Museo Sans For Dell" pitchFamily="2" charset="0"/>
                  <a:ea typeface="Museo Sans For Dell" pitchFamily="2" charset="0"/>
                </a:defRPr>
              </a:lvl5pPr>
              <a:lvl6pPr marL="20653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6pPr>
              <a:lvl7pPr marL="25225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7pPr>
              <a:lvl8pPr marL="29797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8pPr>
              <a:lvl9pPr marL="3436938" indent="-236538" algn="l" rtl="0" eaLnBrk="1" fontAlgn="base" hangingPunct="1">
                <a:lnSpc>
                  <a:spcPct val="95000"/>
                </a:lnSpc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–"/>
                <a:defRPr sz="1600">
                  <a:solidFill>
                    <a:schemeClr val="accent1"/>
                  </a:solidFill>
                  <a:latin typeface="+mn-lt"/>
                </a:defRPr>
              </a:lvl9pPr>
            </a:lstStyle>
            <a:p>
              <a:pPr marL="0" indent="0" algn="ctr" defTabSz="685715">
                <a:buClr>
                  <a:srgbClr val="0076CE"/>
                </a:buClr>
                <a:buNone/>
              </a:pP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数分でダウンロードして</a:t>
              </a:r>
              <a:endParaRPr lang="en-US" altLang="ja-JP" sz="135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  <a:p>
              <a:pPr marL="0" indent="0" algn="ctr" defTabSz="685715">
                <a:buClr>
                  <a:srgbClr val="0076CE"/>
                </a:buClr>
                <a:buNone/>
              </a:pPr>
              <a:r>
                <a:rPr lang="ja-JP" altLang="en-US" sz="1350">
                  <a:solidFill>
                    <a:srgbClr val="FFFFFF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導入可能</a:t>
              </a:r>
              <a:endParaRPr lang="en-US" sz="135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9D4FBA6-9845-A943-8FF2-94915F60D9DC}"/>
                </a:ext>
              </a:extLst>
            </p:cNvPr>
            <p:cNvGrpSpPr/>
            <p:nvPr/>
          </p:nvGrpSpPr>
          <p:grpSpPr>
            <a:xfrm>
              <a:off x="912776" y="2244462"/>
              <a:ext cx="583380" cy="583362"/>
              <a:chOff x="9083297" y="6936486"/>
              <a:chExt cx="61069" cy="61069"/>
            </a:xfrm>
            <a:solidFill>
              <a:schemeClr val="accent6"/>
            </a:solidFill>
          </p:grpSpPr>
          <p:sp>
            <p:nvSpPr>
              <p:cNvPr id="33" name="Freeform: Shape 53">
                <a:extLst>
                  <a:ext uri="{FF2B5EF4-FFF2-40B4-BE49-F238E27FC236}">
                    <a16:creationId xmlns:a16="http://schemas.microsoft.com/office/drawing/2014/main" id="{47FB24E9-FCE1-0049-AD02-57314B0F85CE}"/>
                  </a:ext>
                </a:extLst>
              </p:cNvPr>
              <p:cNvSpPr/>
              <p:nvPr/>
            </p:nvSpPr>
            <p:spPr>
              <a:xfrm>
                <a:off x="9083297" y="6936486"/>
                <a:ext cx="61069" cy="61069"/>
              </a:xfrm>
              <a:custGeom>
                <a:avLst/>
                <a:gdLst>
                  <a:gd name="connsiteX0" fmla="*/ 30534 w 61068"/>
                  <a:gd name="connsiteY0" fmla="*/ 0 h 61068"/>
                  <a:gd name="connsiteX1" fmla="*/ 0 w 61068"/>
                  <a:gd name="connsiteY1" fmla="*/ 30534 h 61068"/>
                  <a:gd name="connsiteX2" fmla="*/ 30534 w 61068"/>
                  <a:gd name="connsiteY2" fmla="*/ 61069 h 61068"/>
                  <a:gd name="connsiteX3" fmla="*/ 61069 w 61068"/>
                  <a:gd name="connsiteY3" fmla="*/ 30534 h 61068"/>
                  <a:gd name="connsiteX4" fmla="*/ 30534 w 61068"/>
                  <a:gd name="connsiteY4" fmla="*/ 0 h 61068"/>
                  <a:gd name="connsiteX5" fmla="*/ 13638 w 61068"/>
                  <a:gd name="connsiteY5" fmla="*/ 50850 h 61068"/>
                  <a:gd name="connsiteX6" fmla="*/ 16528 w 61068"/>
                  <a:gd name="connsiteY6" fmla="*/ 48000 h 61068"/>
                  <a:gd name="connsiteX7" fmla="*/ 13638 w 61068"/>
                  <a:gd name="connsiteY7" fmla="*/ 45109 h 61068"/>
                  <a:gd name="connsiteX8" fmla="*/ 10748 w 61068"/>
                  <a:gd name="connsiteY8" fmla="*/ 48000 h 61068"/>
                  <a:gd name="connsiteX9" fmla="*/ 4193 w 61068"/>
                  <a:gd name="connsiteY9" fmla="*/ 32529 h 61068"/>
                  <a:gd name="connsiteX10" fmla="*/ 8224 w 61068"/>
                  <a:gd name="connsiteY10" fmla="*/ 32529 h 61068"/>
                  <a:gd name="connsiteX11" fmla="*/ 8224 w 61068"/>
                  <a:gd name="connsiteY11" fmla="*/ 28458 h 61068"/>
                  <a:gd name="connsiteX12" fmla="*/ 4193 w 61068"/>
                  <a:gd name="connsiteY12" fmla="*/ 28458 h 61068"/>
                  <a:gd name="connsiteX13" fmla="*/ 10748 w 61068"/>
                  <a:gd name="connsiteY13" fmla="*/ 13028 h 61068"/>
                  <a:gd name="connsiteX14" fmla="*/ 13679 w 61068"/>
                  <a:gd name="connsiteY14" fmla="*/ 15959 h 61068"/>
                  <a:gd name="connsiteX15" fmla="*/ 16569 w 61068"/>
                  <a:gd name="connsiteY15" fmla="*/ 13069 h 61068"/>
                  <a:gd name="connsiteX16" fmla="*/ 13679 w 61068"/>
                  <a:gd name="connsiteY16" fmla="*/ 10178 h 61068"/>
                  <a:gd name="connsiteX17" fmla="*/ 28580 w 61068"/>
                  <a:gd name="connsiteY17" fmla="*/ 4153 h 61068"/>
                  <a:gd name="connsiteX18" fmla="*/ 28580 w 61068"/>
                  <a:gd name="connsiteY18" fmla="*/ 7939 h 61068"/>
                  <a:gd name="connsiteX19" fmla="*/ 32651 w 61068"/>
                  <a:gd name="connsiteY19" fmla="*/ 7939 h 61068"/>
                  <a:gd name="connsiteX20" fmla="*/ 32651 w 61068"/>
                  <a:gd name="connsiteY20" fmla="*/ 4193 h 61068"/>
                  <a:gd name="connsiteX21" fmla="*/ 47796 w 61068"/>
                  <a:gd name="connsiteY21" fmla="*/ 10463 h 61068"/>
                  <a:gd name="connsiteX22" fmla="*/ 45149 w 61068"/>
                  <a:gd name="connsiteY22" fmla="*/ 13109 h 61068"/>
                  <a:gd name="connsiteX23" fmla="*/ 48040 w 61068"/>
                  <a:gd name="connsiteY23" fmla="*/ 16000 h 61068"/>
                  <a:gd name="connsiteX24" fmla="*/ 50687 w 61068"/>
                  <a:gd name="connsiteY24" fmla="*/ 13354 h 61068"/>
                  <a:gd name="connsiteX25" fmla="*/ 56997 w 61068"/>
                  <a:gd name="connsiteY25" fmla="*/ 28539 h 61068"/>
                  <a:gd name="connsiteX26" fmla="*/ 52967 w 61068"/>
                  <a:gd name="connsiteY26" fmla="*/ 28539 h 61068"/>
                  <a:gd name="connsiteX27" fmla="*/ 52967 w 61068"/>
                  <a:gd name="connsiteY27" fmla="*/ 32611 h 61068"/>
                  <a:gd name="connsiteX28" fmla="*/ 56997 w 61068"/>
                  <a:gd name="connsiteY28" fmla="*/ 32611 h 61068"/>
                  <a:gd name="connsiteX29" fmla="*/ 50687 w 61068"/>
                  <a:gd name="connsiteY29" fmla="*/ 47837 h 61068"/>
                  <a:gd name="connsiteX30" fmla="*/ 48040 w 61068"/>
                  <a:gd name="connsiteY30" fmla="*/ 45191 h 61068"/>
                  <a:gd name="connsiteX31" fmla="*/ 45149 w 61068"/>
                  <a:gd name="connsiteY31" fmla="*/ 48081 h 61068"/>
                  <a:gd name="connsiteX32" fmla="*/ 47796 w 61068"/>
                  <a:gd name="connsiteY32" fmla="*/ 50728 h 61068"/>
                  <a:gd name="connsiteX33" fmla="*/ 30657 w 61068"/>
                  <a:gd name="connsiteY33" fmla="*/ 57079 h 61068"/>
                  <a:gd name="connsiteX34" fmla="*/ 13638 w 61068"/>
                  <a:gd name="connsiteY34" fmla="*/ 50850 h 6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1068" h="61068">
                    <a:moveTo>
                      <a:pt x="30534" y="0"/>
                    </a:moveTo>
                    <a:cubicBezTo>
                      <a:pt x="13679" y="0"/>
                      <a:pt x="0" y="13679"/>
                      <a:pt x="0" y="30534"/>
                    </a:cubicBezTo>
                    <a:cubicBezTo>
                      <a:pt x="0" y="47389"/>
                      <a:pt x="13679" y="61069"/>
                      <a:pt x="30534" y="61069"/>
                    </a:cubicBezTo>
                    <a:cubicBezTo>
                      <a:pt x="47389" y="61069"/>
                      <a:pt x="61069" y="47389"/>
                      <a:pt x="61069" y="30534"/>
                    </a:cubicBezTo>
                    <a:cubicBezTo>
                      <a:pt x="61069" y="13639"/>
                      <a:pt x="47430" y="0"/>
                      <a:pt x="30534" y="0"/>
                    </a:cubicBezTo>
                    <a:close/>
                    <a:moveTo>
                      <a:pt x="13638" y="50850"/>
                    </a:moveTo>
                    <a:lnTo>
                      <a:pt x="16528" y="48000"/>
                    </a:lnTo>
                    <a:lnTo>
                      <a:pt x="13638" y="45109"/>
                    </a:lnTo>
                    <a:lnTo>
                      <a:pt x="10748" y="48000"/>
                    </a:lnTo>
                    <a:cubicBezTo>
                      <a:pt x="7043" y="43807"/>
                      <a:pt x="4641" y="38432"/>
                      <a:pt x="4193" y="32529"/>
                    </a:cubicBezTo>
                    <a:lnTo>
                      <a:pt x="8224" y="32529"/>
                    </a:lnTo>
                    <a:lnTo>
                      <a:pt x="8224" y="28458"/>
                    </a:lnTo>
                    <a:lnTo>
                      <a:pt x="4193" y="28458"/>
                    </a:lnTo>
                    <a:cubicBezTo>
                      <a:pt x="4641" y="22555"/>
                      <a:pt x="7043" y="17181"/>
                      <a:pt x="10748" y="13028"/>
                    </a:cubicBezTo>
                    <a:lnTo>
                      <a:pt x="13679" y="15959"/>
                    </a:lnTo>
                    <a:lnTo>
                      <a:pt x="16569" y="13069"/>
                    </a:lnTo>
                    <a:lnTo>
                      <a:pt x="13679" y="10178"/>
                    </a:lnTo>
                    <a:cubicBezTo>
                      <a:pt x="17791" y="6758"/>
                      <a:pt x="22921" y="4560"/>
                      <a:pt x="28580" y="4153"/>
                    </a:cubicBezTo>
                    <a:lnTo>
                      <a:pt x="28580" y="7939"/>
                    </a:lnTo>
                    <a:lnTo>
                      <a:pt x="32651" y="7939"/>
                    </a:lnTo>
                    <a:lnTo>
                      <a:pt x="32651" y="4193"/>
                    </a:lnTo>
                    <a:cubicBezTo>
                      <a:pt x="38391" y="4641"/>
                      <a:pt x="43644" y="6921"/>
                      <a:pt x="47796" y="10463"/>
                    </a:cubicBezTo>
                    <a:lnTo>
                      <a:pt x="45149" y="13109"/>
                    </a:lnTo>
                    <a:lnTo>
                      <a:pt x="48040" y="16000"/>
                    </a:lnTo>
                    <a:lnTo>
                      <a:pt x="50687" y="13354"/>
                    </a:lnTo>
                    <a:cubicBezTo>
                      <a:pt x="54269" y="17506"/>
                      <a:pt x="56549" y="22758"/>
                      <a:pt x="56997" y="28539"/>
                    </a:cubicBezTo>
                    <a:lnTo>
                      <a:pt x="52967" y="28539"/>
                    </a:lnTo>
                    <a:lnTo>
                      <a:pt x="52967" y="32611"/>
                    </a:lnTo>
                    <a:lnTo>
                      <a:pt x="56997" y="32611"/>
                    </a:lnTo>
                    <a:cubicBezTo>
                      <a:pt x="56549" y="38392"/>
                      <a:pt x="54228" y="43644"/>
                      <a:pt x="50687" y="47837"/>
                    </a:cubicBezTo>
                    <a:lnTo>
                      <a:pt x="48040" y="45191"/>
                    </a:lnTo>
                    <a:lnTo>
                      <a:pt x="45149" y="48081"/>
                    </a:lnTo>
                    <a:lnTo>
                      <a:pt x="47796" y="50728"/>
                    </a:lnTo>
                    <a:cubicBezTo>
                      <a:pt x="43155" y="54677"/>
                      <a:pt x="37170" y="57079"/>
                      <a:pt x="30657" y="57079"/>
                    </a:cubicBezTo>
                    <a:cubicBezTo>
                      <a:pt x="24142" y="56997"/>
                      <a:pt x="18239" y="54677"/>
                      <a:pt x="13638" y="50850"/>
                    </a:cubicBezTo>
                    <a:close/>
                  </a:path>
                </a:pathLst>
              </a:custGeom>
              <a:grpFill/>
              <a:ln w="40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15"/>
                <a:endParaRPr lang="en-US" sz="1013">
                  <a:solidFill>
                    <a:srgbClr val="444444"/>
                  </a:solidFill>
                  <a:latin typeface="Arial" panose="020B0604020202020204" pitchFamily="34" charset="0"/>
                  <a:ea typeface="Meiryo UI" panose="020B0604030504040204" pitchFamily="50" charset="-128"/>
                </a:endParaRPr>
              </a:p>
            </p:txBody>
          </p:sp>
          <p:sp>
            <p:nvSpPr>
              <p:cNvPr id="34" name="Freeform: Shape 54">
                <a:extLst>
                  <a:ext uri="{FF2B5EF4-FFF2-40B4-BE49-F238E27FC236}">
                    <a16:creationId xmlns:a16="http://schemas.microsoft.com/office/drawing/2014/main" id="{D2B0ADAB-740F-A441-9BDE-A5F26CB602D4}"/>
                  </a:ext>
                </a:extLst>
              </p:cNvPr>
              <p:cNvSpPr/>
              <p:nvPr/>
            </p:nvSpPr>
            <p:spPr>
              <a:xfrm>
                <a:off x="9107695" y="6959122"/>
                <a:ext cx="20356" cy="12214"/>
              </a:xfrm>
              <a:custGeom>
                <a:avLst/>
                <a:gdLst>
                  <a:gd name="connsiteX0" fmla="*/ 21973 w 20356"/>
                  <a:gd name="connsiteY0" fmla="*/ 3013 h 12213"/>
                  <a:gd name="connsiteX1" fmla="*/ 20711 w 20356"/>
                  <a:gd name="connsiteY1" fmla="*/ 0 h 12213"/>
                  <a:gd name="connsiteX2" fmla="*/ 4793 w 20356"/>
                  <a:gd name="connsiteY2" fmla="*/ 2972 h 12213"/>
                  <a:gd name="connsiteX3" fmla="*/ 3286 w 20356"/>
                  <a:gd name="connsiteY3" fmla="*/ 3379 h 12213"/>
                  <a:gd name="connsiteX4" fmla="*/ 436 w 20356"/>
                  <a:gd name="connsiteY4" fmla="*/ 10504 h 12213"/>
                  <a:gd name="connsiteX5" fmla="*/ 5403 w 20356"/>
                  <a:gd name="connsiteY5" fmla="*/ 13802 h 12213"/>
                  <a:gd name="connsiteX6" fmla="*/ 7520 w 20356"/>
                  <a:gd name="connsiteY6" fmla="*/ 13354 h 12213"/>
                  <a:gd name="connsiteX7" fmla="*/ 8783 w 20356"/>
                  <a:gd name="connsiteY7" fmla="*/ 12580 h 12213"/>
                  <a:gd name="connsiteX8" fmla="*/ 20670 w 20356"/>
                  <a:gd name="connsiteY8" fmla="*/ 4031 h 12213"/>
                  <a:gd name="connsiteX9" fmla="*/ 21973 w 20356"/>
                  <a:gd name="connsiteY9" fmla="*/ 3013 h 12213"/>
                  <a:gd name="connsiteX10" fmla="*/ 6380 w 20356"/>
                  <a:gd name="connsiteY10" fmla="*/ 9282 h 12213"/>
                  <a:gd name="connsiteX11" fmla="*/ 5933 w 20356"/>
                  <a:gd name="connsiteY11" fmla="*/ 9567 h 12213"/>
                  <a:gd name="connsiteX12" fmla="*/ 4183 w 20356"/>
                  <a:gd name="connsiteY12" fmla="*/ 8875 h 12213"/>
                  <a:gd name="connsiteX13" fmla="*/ 4874 w 20356"/>
                  <a:gd name="connsiteY13" fmla="*/ 7125 h 12213"/>
                  <a:gd name="connsiteX14" fmla="*/ 11022 w 20356"/>
                  <a:gd name="connsiteY14" fmla="*/ 5944 h 12213"/>
                  <a:gd name="connsiteX15" fmla="*/ 6380 w 20356"/>
                  <a:gd name="connsiteY15" fmla="*/ 9282 h 1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356" h="12213">
                    <a:moveTo>
                      <a:pt x="21973" y="3013"/>
                    </a:moveTo>
                    <a:lnTo>
                      <a:pt x="20711" y="0"/>
                    </a:lnTo>
                    <a:lnTo>
                      <a:pt x="4793" y="2972"/>
                    </a:lnTo>
                    <a:cubicBezTo>
                      <a:pt x="4263" y="3053"/>
                      <a:pt x="3734" y="3176"/>
                      <a:pt x="3286" y="3379"/>
                    </a:cubicBezTo>
                    <a:cubicBezTo>
                      <a:pt x="559" y="4560"/>
                      <a:pt x="-744" y="7735"/>
                      <a:pt x="436" y="10504"/>
                    </a:cubicBezTo>
                    <a:cubicBezTo>
                      <a:pt x="1332" y="12539"/>
                      <a:pt x="3327" y="13802"/>
                      <a:pt x="5403" y="13802"/>
                    </a:cubicBezTo>
                    <a:cubicBezTo>
                      <a:pt x="6096" y="13802"/>
                      <a:pt x="6829" y="13679"/>
                      <a:pt x="7520" y="13354"/>
                    </a:cubicBezTo>
                    <a:cubicBezTo>
                      <a:pt x="7969" y="13150"/>
                      <a:pt x="8416" y="12906"/>
                      <a:pt x="8783" y="12580"/>
                    </a:cubicBezTo>
                    <a:lnTo>
                      <a:pt x="20670" y="4031"/>
                    </a:lnTo>
                    <a:lnTo>
                      <a:pt x="21973" y="3013"/>
                    </a:lnTo>
                    <a:close/>
                    <a:moveTo>
                      <a:pt x="6380" y="9282"/>
                    </a:moveTo>
                    <a:lnTo>
                      <a:pt x="5933" y="9567"/>
                    </a:lnTo>
                    <a:cubicBezTo>
                      <a:pt x="5241" y="9852"/>
                      <a:pt x="4467" y="9527"/>
                      <a:pt x="4183" y="8875"/>
                    </a:cubicBezTo>
                    <a:cubicBezTo>
                      <a:pt x="3897" y="8183"/>
                      <a:pt x="4223" y="7410"/>
                      <a:pt x="4874" y="7125"/>
                    </a:cubicBezTo>
                    <a:lnTo>
                      <a:pt x="11022" y="5944"/>
                    </a:lnTo>
                    <a:lnTo>
                      <a:pt x="6380" y="9282"/>
                    </a:lnTo>
                    <a:close/>
                  </a:path>
                </a:pathLst>
              </a:custGeom>
              <a:grpFill/>
              <a:ln w="40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15"/>
                <a:endParaRPr lang="en-US" sz="1013">
                  <a:solidFill>
                    <a:srgbClr val="444444"/>
                  </a:solidFill>
                  <a:latin typeface="Arial" panose="020B0604020202020204" pitchFamily="34" charset="0"/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40" name="Content Placeholder 5">
            <a:extLst>
              <a:ext uri="{FF2B5EF4-FFF2-40B4-BE49-F238E27FC236}">
                <a16:creationId xmlns:a16="http://schemas.microsoft.com/office/drawing/2014/main" id="{EC28BD94-5F55-1844-852A-4A74DA83727D}"/>
              </a:ext>
            </a:extLst>
          </p:cNvPr>
          <p:cNvSpPr txBox="1">
            <a:spLocks/>
          </p:cNvSpPr>
          <p:nvPr/>
        </p:nvSpPr>
        <p:spPr>
          <a:xfrm>
            <a:off x="7174660" y="2186713"/>
            <a:ext cx="1615922" cy="1731020"/>
          </a:xfrm>
          <a:prstGeom prst="rect">
            <a:avLst/>
          </a:prstGeom>
        </p:spPr>
        <p:txBody>
          <a:bodyPr lIns="0"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defTabSz="685715">
              <a:spcBef>
                <a:spcPts val="600"/>
              </a:spcBef>
              <a:buClr>
                <a:srgbClr val="0076CE"/>
              </a:buClr>
              <a:buNone/>
            </a:pPr>
            <a:r>
              <a:rPr lang="en-US" sz="1500" b="1">
                <a:solidFill>
                  <a:srgbClr val="41B6E6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Includes</a:t>
            </a:r>
          </a:p>
          <a:p>
            <a:pPr marL="228576" indent="-228576" defTabSz="685715">
              <a:buClr>
                <a:srgbClr val="FFFFFF"/>
              </a:buClr>
            </a:pPr>
            <a:r>
              <a:rPr lang="en-US" sz="120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DD Boost</a:t>
            </a:r>
          </a:p>
          <a:p>
            <a:pPr marL="228576" indent="-228576" defTabSz="685715">
              <a:buClr>
                <a:srgbClr val="FFFFFF"/>
              </a:buClr>
            </a:pPr>
            <a:r>
              <a:rPr lang="en-US" sz="120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DD Replicator</a:t>
            </a:r>
          </a:p>
          <a:p>
            <a:pPr marL="228576" indent="-228576" defTabSz="685715">
              <a:buClr>
                <a:srgbClr val="FFFFFF"/>
              </a:buClr>
            </a:pPr>
            <a:r>
              <a:rPr lang="en-US" sz="1200">
                <a:solidFill>
                  <a:srgbClr val="FFFFFF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DD Encryp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1588486-1BB5-FB48-A816-8900D17D9EAC}"/>
              </a:ext>
            </a:extLst>
          </p:cNvPr>
          <p:cNvCxnSpPr/>
          <p:nvPr/>
        </p:nvCxnSpPr>
        <p:spPr>
          <a:xfrm>
            <a:off x="6886940" y="2254528"/>
            <a:ext cx="0" cy="1535671"/>
          </a:xfrm>
          <a:prstGeom prst="line">
            <a:avLst/>
          </a:prstGeom>
          <a:ln w="12700">
            <a:solidFill>
              <a:srgbClr val="FFFFFF">
                <a:alpha val="34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A080439-8D6E-B640-A921-A6EA3AAF976B}"/>
              </a:ext>
            </a:extLst>
          </p:cNvPr>
          <p:cNvSpPr/>
          <p:nvPr/>
        </p:nvSpPr>
        <p:spPr>
          <a:xfrm>
            <a:off x="0" y="3953741"/>
            <a:ext cx="9144000" cy="60651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15"/>
            <a:endParaRPr lang="en-US" sz="1200">
              <a:solidFill>
                <a:srgbClr val="000000"/>
              </a:solidFill>
              <a:latin typeface="Arial" panose="020B0604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0D75CDD8-5449-144F-8CC8-1B3137AE7B4B}"/>
              </a:ext>
            </a:extLst>
          </p:cNvPr>
          <p:cNvSpPr txBox="1">
            <a:spLocks/>
          </p:cNvSpPr>
          <p:nvPr/>
        </p:nvSpPr>
        <p:spPr>
          <a:xfrm>
            <a:off x="1238214" y="3953736"/>
            <a:ext cx="2803259" cy="606515"/>
          </a:xfrm>
          <a:prstGeom prst="rect">
            <a:avLst/>
          </a:prstGeom>
        </p:spPr>
        <p:txBody>
          <a:bodyPr lIns="91440" anchor="ctr"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+mj-lt"/>
                <a:ea typeface="Museo Sans For Dell" pitchFamily="2" charset="0"/>
                <a:cs typeface="+mn-cs"/>
              </a:defRPr>
            </a:lvl1pPr>
            <a:lvl2pPr marL="574675" indent="-2333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2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›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AAAAAA"/>
              </a:buClr>
              <a:buFont typeface="Courier New" panose="02070309020205020404" pitchFamily="49" charset="0"/>
              <a:buChar char="o"/>
              <a:defRPr sz="1000" baseline="0">
                <a:solidFill>
                  <a:srgbClr val="000000"/>
                </a:solidFill>
                <a:latin typeface="+mj-lt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600">
                <a:solidFill>
                  <a:schemeClr val="accent1"/>
                </a:solidFill>
                <a:latin typeface="+mn-lt"/>
              </a:defRPr>
            </a:lvl9pPr>
          </a:lstStyle>
          <a:p>
            <a:pPr marL="0" indent="0" defTabSz="685715">
              <a:spcBef>
                <a:spcPts val="2400"/>
              </a:spcBef>
              <a:buClr>
                <a:srgbClr val="0076CE"/>
              </a:buClr>
              <a:buNone/>
            </a:pPr>
            <a:r>
              <a:rPr lang="en-US" sz="1800">
                <a:solidFill>
                  <a:srgbClr val="444444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ulti-hypervisor suppor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4907971-6F47-934E-9F98-E664DF0E69B4}"/>
              </a:ext>
            </a:extLst>
          </p:cNvPr>
          <p:cNvGrpSpPr/>
          <p:nvPr/>
        </p:nvGrpSpPr>
        <p:grpSpPr>
          <a:xfrm>
            <a:off x="4041473" y="4002379"/>
            <a:ext cx="3894301" cy="512580"/>
            <a:chOff x="3455783" y="4249167"/>
            <a:chExt cx="3388999" cy="4460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152CB07-1A0B-9D44-95A6-035BFBD3AC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71" r="-3071"/>
            <a:stretch/>
          </p:blipFill>
          <p:spPr>
            <a:xfrm>
              <a:off x="3455783" y="4340859"/>
              <a:ext cx="1040878" cy="262688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9A0EBAF5-9462-F347-AF9D-B43D861AD5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689" r="21603" b="-1648"/>
            <a:stretch/>
          </p:blipFill>
          <p:spPr>
            <a:xfrm>
              <a:off x="4726745" y="4249167"/>
              <a:ext cx="1040877" cy="44607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E84A6516-F395-0045-B3FC-15834083C5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55" t="19726" b="13665"/>
            <a:stretch/>
          </p:blipFill>
          <p:spPr>
            <a:xfrm>
              <a:off x="6015472" y="4303369"/>
              <a:ext cx="829310" cy="337667"/>
            </a:xfrm>
            <a:prstGeom prst="rect">
              <a:avLst/>
            </a:prstGeom>
          </p:spPr>
        </p:pic>
      </p:grpSp>
      <p:pic>
        <p:nvPicPr>
          <p:cNvPr id="22" name="Picture 21" descr="DDVEacryonym-Icons-01.png">
            <a:extLst>
              <a:ext uri="{FF2B5EF4-FFF2-40B4-BE49-F238E27FC236}">
                <a16:creationId xmlns:a16="http://schemas.microsoft.com/office/drawing/2014/main" id="{C9CE5F1D-58C7-FE48-98C0-DA0BBBA3418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78"/>
          <a:stretch/>
        </p:blipFill>
        <p:spPr>
          <a:xfrm>
            <a:off x="3624358" y="1047992"/>
            <a:ext cx="1721615" cy="1540377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F90399E6-593C-6147-AA37-D644C6919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1"/>
            <a:ext cx="8572500" cy="332399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US" sz="2400">
                <a:ea typeface="Meiryo UI" panose="020B0604030504040204" pitchFamily="50" charset="-128"/>
                <a:cs typeface="Arial"/>
              </a:rPr>
              <a:t>PowerProtect DDVE</a:t>
            </a:r>
          </a:p>
        </p:txBody>
      </p:sp>
      <p:sp>
        <p:nvSpPr>
          <p:cNvPr id="24" name="Subtitle 23">
            <a:extLst>
              <a:ext uri="{FF2B5EF4-FFF2-40B4-BE49-F238E27FC236}">
                <a16:creationId xmlns:a16="http://schemas.microsoft.com/office/drawing/2014/main" id="{1357A8CE-F17E-0945-96A3-F1A49F23E2E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2789872" y="799805"/>
            <a:ext cx="3744913" cy="320675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altLang="ja-JP" sz="1800" b="1" dirty="0" err="1">
                <a:solidFill>
                  <a:schemeClr val="tx2"/>
                </a:solidFill>
                <a:ea typeface="Meiryo UI" panose="020B0604030504040204" pitchFamily="50" charset="-128"/>
              </a:rPr>
              <a:t>PowerProtect</a:t>
            </a:r>
            <a:r>
              <a:rPr lang="en-US" altLang="ja-JP" sz="1800" b="1" dirty="0">
                <a:solidFill>
                  <a:schemeClr val="tx2"/>
                </a:solidFill>
                <a:ea typeface="Meiryo UI" panose="020B0604030504040204" pitchFamily="50" charset="-128"/>
              </a:rPr>
              <a:t> DD</a:t>
            </a:r>
            <a:r>
              <a:rPr lang="ja-JP" altLang="en-US" sz="1800" b="1" dirty="0">
                <a:solidFill>
                  <a:schemeClr val="tx2"/>
                </a:solidFill>
                <a:ea typeface="Meiryo UI" panose="020B0604030504040204" pitchFamily="50" charset="-128"/>
              </a:rPr>
              <a:t>の仮想化版</a:t>
            </a:r>
            <a:endParaRPr lang="en-US" sz="1800" b="1" dirty="0">
              <a:solidFill>
                <a:schemeClr val="tx2"/>
              </a:solidFill>
              <a:ea typeface="Meiryo UI" panose="020B0604030504040204" pitchFamily="50" charset="-128"/>
            </a:endParaRPr>
          </a:p>
        </p:txBody>
      </p:sp>
      <p:sp>
        <p:nvSpPr>
          <p:cNvPr id="42" name="MSIPCMContentMarking" descr="{&quot;HashCode&quot;:-1913046509,&quot;Placement&quot;:&quot;Footer&quot;}">
            <a:extLst>
              <a:ext uri="{FF2B5EF4-FFF2-40B4-BE49-F238E27FC236}">
                <a16:creationId xmlns:a16="http://schemas.microsoft.com/office/drawing/2014/main" id="{250186C3-4C30-4D62-B87E-C7F55031F78D}"/>
              </a:ext>
            </a:extLst>
          </p:cNvPr>
          <p:cNvSpPr txBox="1"/>
          <p:nvPr/>
        </p:nvSpPr>
        <p:spPr>
          <a:xfrm>
            <a:off x="0" y="5000345"/>
            <a:ext cx="1028784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r>
              <a:rPr kumimoji="1" lang="en-US" altLang="ja-JP" sz="600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kumimoji="1" lang="ja-JP" altLang="en-US" sz="60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Subtitle 23">
            <a:extLst>
              <a:ext uri="{FF2B5EF4-FFF2-40B4-BE49-F238E27FC236}">
                <a16:creationId xmlns:a16="http://schemas.microsoft.com/office/drawing/2014/main" id="{298637B0-85E9-4DEA-ACCE-78A350193BA4}"/>
              </a:ext>
            </a:extLst>
          </p:cNvPr>
          <p:cNvSpPr txBox="1">
            <a:spLocks/>
          </p:cNvSpPr>
          <p:nvPr/>
        </p:nvSpPr>
        <p:spPr>
          <a:xfrm>
            <a:off x="252996" y="4625885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kumimoji="1" sz="1400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>
                <a:ea typeface="Meiryo UI" panose="020B0604030504040204" pitchFamily="50" charset="-128"/>
              </a:rPr>
              <a:t>※AWS, GCP, </a:t>
            </a:r>
            <a:r>
              <a:rPr lang="ja-JP" altLang="en-US">
                <a:ea typeface="Meiryo UI" panose="020B0604030504040204" pitchFamily="50" charset="-128"/>
              </a:rPr>
              <a:t> </a:t>
            </a:r>
            <a:r>
              <a:rPr lang="en-US" altLang="ja-JP">
                <a:ea typeface="Meiryo UI" panose="020B0604030504040204" pitchFamily="50" charset="-128"/>
              </a:rPr>
              <a:t>Azure, </a:t>
            </a:r>
            <a:r>
              <a:rPr lang="ja-JP" altLang="en-US">
                <a:ea typeface="Meiryo UI" panose="020B0604030504040204" pitchFamily="50" charset="-128"/>
              </a:rPr>
              <a:t> </a:t>
            </a:r>
            <a:r>
              <a:rPr lang="en-US" altLang="ja-JP">
                <a:ea typeface="Meiryo UI" panose="020B0604030504040204" pitchFamily="50" charset="-128"/>
              </a:rPr>
              <a:t>Alibaba</a:t>
            </a:r>
            <a:r>
              <a:rPr lang="ja-JP" altLang="en-US">
                <a:ea typeface="Meiryo UI" panose="020B0604030504040204" pitchFamily="50" charset="-128"/>
              </a:rPr>
              <a:t>をサポート</a:t>
            </a:r>
            <a:endParaRPr lang="en-US">
              <a:ea typeface="Meiryo UI" panose="020B0604030504040204" pitchFamily="50" charset="-128"/>
            </a:endParaRPr>
          </a:p>
        </p:txBody>
      </p:sp>
      <p:sp>
        <p:nvSpPr>
          <p:cNvPr id="48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3226A1C2-D680-4A87-9AE1-F0F0C424E29C}"/>
              </a:ext>
            </a:extLst>
          </p:cNvPr>
          <p:cNvSpPr txBox="1"/>
          <p:nvPr/>
        </p:nvSpPr>
        <p:spPr>
          <a:xfrm>
            <a:off x="4071620" y="5022289"/>
            <a:ext cx="1181414" cy="6925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5" fontAlgn="base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en-US" sz="500">
                <a:solidFill>
                  <a:srgbClr val="808080"/>
                </a:solidFill>
                <a:latin typeface="Arial" panose="020B0604020202020204" pitchFamily="34" charset="0"/>
              </a:rPr>
              <a:t>Copyright © Dell Inc. All Rights Reserved.</a:t>
            </a:r>
          </a:p>
        </p:txBody>
      </p:sp>
      <p:sp>
        <p:nvSpPr>
          <p:cNvPr id="49" name="TextBox 19">
            <a:extLst>
              <a:ext uri="{FF2B5EF4-FFF2-40B4-BE49-F238E27FC236}">
                <a16:creationId xmlns:a16="http://schemas.microsoft.com/office/drawing/2014/main" id="{84113C60-EB33-4660-8082-65E44CB2BC42}"/>
              </a:ext>
            </a:extLst>
          </p:cNvPr>
          <p:cNvSpPr txBox="1"/>
          <p:nvPr/>
        </p:nvSpPr>
        <p:spPr>
          <a:xfrm>
            <a:off x="3897378" y="5022289"/>
            <a:ext cx="70533" cy="6925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500">
                <a:solidFill>
                  <a:srgbClr val="808080"/>
                </a:solidFill>
                <a:latin typeface="Arial" panose="020B0604020202020204" pitchFamily="34" charset="0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5</a:t>
            </a:fld>
            <a:endParaRPr lang="en-US" sz="500" err="1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6498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B60159-CEF5-4416-A9E3-5CF8074D5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err="1"/>
              <a:t>PowerProtect</a:t>
            </a:r>
            <a:r>
              <a:rPr lang="en-US" altLang="ja-JP" dirty="0"/>
              <a:t> Data Manager Appliance DM5500</a:t>
            </a:r>
            <a:endParaRPr kumimoji="1" lang="ja-JP" altLang="en-US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DF73EC8-B9C2-4572-B64C-686B164CEAA8}"/>
              </a:ext>
            </a:extLst>
          </p:cNvPr>
          <p:cNvSpPr txBox="1">
            <a:spLocks/>
          </p:cNvSpPr>
          <p:nvPr/>
        </p:nvSpPr>
        <p:spPr>
          <a:xfrm>
            <a:off x="511092" y="841333"/>
            <a:ext cx="3590237" cy="2003018"/>
          </a:xfrm>
          <a:prstGeom prst="rect">
            <a:avLst/>
          </a:prstGeom>
          <a:solidFill>
            <a:schemeClr val="tx2">
              <a:lumMod val="95000"/>
            </a:schemeClr>
          </a:solidFill>
          <a:ln w="9525">
            <a:solidFill>
              <a:schemeClr val="tx2">
                <a:lumMod val="85000"/>
              </a:schemeClr>
            </a:solidFill>
            <a:prstDash val="solid"/>
          </a:ln>
        </p:spPr>
        <p:txBody>
          <a:bodyPr lIns="108000" rIns="108000"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None/>
              <a:defRPr/>
            </a:pPr>
            <a:endParaRPr lang="en-US" sz="1000">
              <a:solidFill>
                <a:srgbClr val="444444"/>
              </a:solidFill>
              <a:latin typeface="Arial"/>
              <a:cs typeface="Helvetica"/>
            </a:endParaRPr>
          </a:p>
        </p:txBody>
      </p:sp>
      <p:sp>
        <p:nvSpPr>
          <p:cNvPr id="4" name="Rectangle 31">
            <a:extLst>
              <a:ext uri="{FF2B5EF4-FFF2-40B4-BE49-F238E27FC236}">
                <a16:creationId xmlns:a16="http://schemas.microsoft.com/office/drawing/2014/main" id="{3224BE0B-EBA5-4099-84FB-8DB58C59903D}"/>
              </a:ext>
            </a:extLst>
          </p:cNvPr>
          <p:cNvSpPr/>
          <p:nvPr/>
        </p:nvSpPr>
        <p:spPr>
          <a:xfrm>
            <a:off x="886268" y="3044230"/>
            <a:ext cx="2801499" cy="26728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bIns="36000" rtlCol="0" anchor="ctr"/>
          <a:lstStyle/>
          <a:p>
            <a:pPr defTabSz="685766"/>
            <a:r>
              <a:rPr lang="en-US" sz="1050">
                <a:solidFill>
                  <a:srgbClr val="FFFFFF"/>
                </a:solidFill>
                <a:latin typeface="Arial"/>
              </a:rPr>
              <a:t>                             </a:t>
            </a:r>
            <a:r>
              <a:rPr lang="en-US" sz="1000" err="1">
                <a:solidFill>
                  <a:srgbClr val="FFFFFF"/>
                </a:solidFill>
                <a:latin typeface="Arial"/>
              </a:rPr>
              <a:t>PowerProtect</a:t>
            </a:r>
            <a:r>
              <a:rPr lang="en-US" sz="1000">
                <a:solidFill>
                  <a:srgbClr val="FFFFFF"/>
                </a:solidFill>
                <a:latin typeface="Arial"/>
              </a:rPr>
              <a:t> DM5500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8F04B53A-D64B-4D0D-A822-A868074C0FC7}"/>
              </a:ext>
            </a:extLst>
          </p:cNvPr>
          <p:cNvSpPr txBox="1">
            <a:spLocks/>
          </p:cNvSpPr>
          <p:nvPr/>
        </p:nvSpPr>
        <p:spPr>
          <a:xfrm>
            <a:off x="888896" y="3324788"/>
            <a:ext cx="2788937" cy="1647263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>
                <a:lumMod val="85000"/>
              </a:schemeClr>
            </a:solidFill>
          </a:ln>
        </p:spPr>
        <p:txBody>
          <a:bodyPr lIns="108000" rIns="108000"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None/>
              <a:defRPr/>
            </a:pPr>
            <a:endParaRPr lang="en-US" sz="900">
              <a:solidFill>
                <a:srgbClr val="444444"/>
              </a:solidFill>
              <a:latin typeface="Arial"/>
              <a:cs typeface="Helvetica"/>
            </a:endParaRPr>
          </a:p>
        </p:txBody>
      </p:sp>
      <p:sp>
        <p:nvSpPr>
          <p:cNvPr id="6" name="Rectangle 49">
            <a:extLst>
              <a:ext uri="{FF2B5EF4-FFF2-40B4-BE49-F238E27FC236}">
                <a16:creationId xmlns:a16="http://schemas.microsoft.com/office/drawing/2014/main" id="{4CDF2427-0D2E-41DB-9408-89E95C666EFF}"/>
              </a:ext>
            </a:extLst>
          </p:cNvPr>
          <p:cNvSpPr/>
          <p:nvPr/>
        </p:nvSpPr>
        <p:spPr>
          <a:xfrm>
            <a:off x="1198312" y="616399"/>
            <a:ext cx="2120096" cy="235598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749">
              <a:defRPr/>
            </a:pPr>
            <a:r>
              <a:rPr lang="ja-JP" altLang="en-US" sz="1100">
                <a:solidFill>
                  <a:schemeClr val="tx2"/>
                </a:solidFill>
                <a:latin typeface="Arial"/>
                <a:cs typeface="Arial"/>
              </a:rPr>
              <a:t>データ保護対象ワークロード</a:t>
            </a:r>
            <a:endParaRPr lang="en-US" sz="11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Rectangle 58">
            <a:extLst>
              <a:ext uri="{FF2B5EF4-FFF2-40B4-BE49-F238E27FC236}">
                <a16:creationId xmlns:a16="http://schemas.microsoft.com/office/drawing/2014/main" id="{5B3EEBE5-4E5D-4311-A867-25019492DC99}"/>
              </a:ext>
            </a:extLst>
          </p:cNvPr>
          <p:cNvSpPr/>
          <p:nvPr/>
        </p:nvSpPr>
        <p:spPr>
          <a:xfrm>
            <a:off x="2599255" y="1926948"/>
            <a:ext cx="1254332" cy="27159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bIns="36000" rtlCol="0" anchor="ctr"/>
          <a:lstStyle/>
          <a:p>
            <a:pPr algn="ctr" defTabSz="685766"/>
            <a:r>
              <a:rPr lang="en-US" sz="900">
                <a:solidFill>
                  <a:srgbClr val="FFFFFF"/>
                </a:solidFill>
                <a:latin typeface="Arial"/>
              </a:rPr>
              <a:t>Protection Engin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F47F183B-D490-4DC4-B45F-20ACDB943489}"/>
              </a:ext>
            </a:extLst>
          </p:cNvPr>
          <p:cNvSpPr txBox="1">
            <a:spLocks/>
          </p:cNvSpPr>
          <p:nvPr/>
        </p:nvSpPr>
        <p:spPr>
          <a:xfrm>
            <a:off x="2605297" y="2187351"/>
            <a:ext cx="1254332" cy="46117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>
                <a:lumMod val="85000"/>
              </a:schemeClr>
            </a:solidFill>
          </a:ln>
        </p:spPr>
        <p:txBody>
          <a:bodyPr lIns="108000" tIns="0" rIns="108000"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None/>
              <a:defRPr/>
            </a:pPr>
            <a:r>
              <a:rPr lang="ja-JP" altLang="en-US" sz="1000">
                <a:solidFill>
                  <a:srgbClr val="444444"/>
                </a:solidFill>
                <a:latin typeface="Arial"/>
                <a:cs typeface="Helvetica"/>
              </a:rPr>
              <a:t>外部</a:t>
            </a:r>
            <a:r>
              <a:rPr lang="en-US" sz="1000">
                <a:solidFill>
                  <a:srgbClr val="444444"/>
                </a:solidFill>
                <a:latin typeface="Arial"/>
                <a:cs typeface="Helvetica"/>
              </a:rPr>
              <a:t> PPDM </a:t>
            </a:r>
            <a:br>
              <a:rPr lang="en-US" sz="1000">
                <a:solidFill>
                  <a:srgbClr val="444444"/>
                </a:solidFill>
                <a:latin typeface="Arial"/>
                <a:cs typeface="Helvetica"/>
              </a:rPr>
            </a:br>
            <a:r>
              <a:rPr lang="en-US" sz="1000">
                <a:solidFill>
                  <a:srgbClr val="444444"/>
                </a:solidFill>
                <a:latin typeface="Arial"/>
                <a:cs typeface="Helvetica"/>
              </a:rPr>
              <a:t>VM Proxy</a:t>
            </a:r>
          </a:p>
        </p:txBody>
      </p:sp>
      <p:cxnSp>
        <p:nvCxnSpPr>
          <p:cNvPr id="9" name="Elbow Connector 57">
            <a:extLst>
              <a:ext uri="{FF2B5EF4-FFF2-40B4-BE49-F238E27FC236}">
                <a16:creationId xmlns:a16="http://schemas.microsoft.com/office/drawing/2014/main" id="{003D7B86-BE86-4A4E-A3D7-569869DFD256}"/>
              </a:ext>
            </a:extLst>
          </p:cNvPr>
          <p:cNvCxnSpPr>
            <a:cxnSpLocks/>
            <a:stCxn id="22" idx="2"/>
          </p:cNvCxnSpPr>
          <p:nvPr/>
        </p:nvCxnSpPr>
        <p:spPr>
          <a:xfrm rot="16200000" flipH="1">
            <a:off x="3113988" y="1832122"/>
            <a:ext cx="176639" cy="3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3">
            <a:extLst>
              <a:ext uri="{FF2B5EF4-FFF2-40B4-BE49-F238E27FC236}">
                <a16:creationId xmlns:a16="http://schemas.microsoft.com/office/drawing/2014/main" id="{A31AE6D1-5127-4A81-A154-498C6C2882D1}"/>
              </a:ext>
            </a:extLst>
          </p:cNvPr>
          <p:cNvSpPr/>
          <p:nvPr/>
        </p:nvSpPr>
        <p:spPr>
          <a:xfrm>
            <a:off x="666617" y="964315"/>
            <a:ext cx="1644769" cy="27159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bIns="36000" rtlCol="0" anchor="ctr"/>
          <a:lstStyle/>
          <a:p>
            <a:pPr algn="ctr" defTabSz="685766"/>
            <a:r>
              <a:rPr lang="en-US" sz="900">
                <a:solidFill>
                  <a:srgbClr val="FFFFFF"/>
                </a:solidFill>
                <a:latin typeface="Arial"/>
              </a:rPr>
              <a:t>Application Agent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3950E42-9124-406F-9784-222B5963F65F}"/>
              </a:ext>
            </a:extLst>
          </p:cNvPr>
          <p:cNvSpPr txBox="1">
            <a:spLocks/>
          </p:cNvSpPr>
          <p:nvPr/>
        </p:nvSpPr>
        <p:spPr>
          <a:xfrm>
            <a:off x="666617" y="1235913"/>
            <a:ext cx="1644777" cy="156310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>
                <a:lumMod val="85000"/>
              </a:schemeClr>
            </a:solidFill>
          </a:ln>
        </p:spPr>
        <p:txBody>
          <a:bodyPr lIns="108000" rIns="108000" anchor="t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Oracle RMAN agent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MS SQL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MS Exchange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SAP Hana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File System Agent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NAS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Kubernetes</a:t>
            </a:r>
          </a:p>
          <a:p>
            <a:pPr marL="161992" indent="-161992" defTabSz="457166">
              <a:spcBef>
                <a:spcPts val="0"/>
              </a:spcBef>
              <a:spcAft>
                <a:spcPts val="300"/>
              </a:spcAft>
              <a:buClr>
                <a:srgbClr val="0076CE"/>
              </a:buClr>
              <a:buFont typeface="Arial" panose="020B0604020202020204" pitchFamily="34" charset="0"/>
              <a:buChar char="•"/>
              <a:defRPr/>
            </a:pP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TSDM(</a:t>
            </a:r>
            <a:r>
              <a:rPr lang="en-US" sz="600">
                <a:solidFill>
                  <a:srgbClr val="444444"/>
                </a:solidFill>
                <a:latin typeface="Arial"/>
                <a:cs typeface="Helvetica"/>
              </a:rPr>
              <a:t>Transparent Snapshot Data Mover</a:t>
            </a:r>
            <a:r>
              <a:rPr lang="en-US" sz="900">
                <a:solidFill>
                  <a:srgbClr val="444444"/>
                </a:solidFill>
                <a:latin typeface="Arial"/>
                <a:cs typeface="Helvetica"/>
              </a:rPr>
              <a:t>)</a:t>
            </a:r>
          </a:p>
        </p:txBody>
      </p:sp>
      <p:sp>
        <p:nvSpPr>
          <p:cNvPr id="12" name="Rectangle 85">
            <a:extLst>
              <a:ext uri="{FF2B5EF4-FFF2-40B4-BE49-F238E27FC236}">
                <a16:creationId xmlns:a16="http://schemas.microsoft.com/office/drawing/2014/main" id="{A343AD22-F8C0-457B-9E5B-F03045429C41}"/>
              </a:ext>
            </a:extLst>
          </p:cNvPr>
          <p:cNvSpPr/>
          <p:nvPr/>
        </p:nvSpPr>
        <p:spPr>
          <a:xfrm>
            <a:off x="4621146" y="1802116"/>
            <a:ext cx="665020" cy="235598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749">
              <a:defRPr/>
            </a:pPr>
            <a:r>
              <a:rPr lang="ja-JP" altLang="en-US" sz="1100">
                <a:solidFill>
                  <a:schemeClr val="bg1"/>
                </a:solidFill>
                <a:latin typeface="Arial"/>
                <a:cs typeface="Arial"/>
              </a:rPr>
              <a:t>クラウドへ</a:t>
            </a:r>
            <a:br>
              <a:rPr lang="en-US" altLang="ja-JP" sz="110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ja-JP" altLang="en-US" sz="1100">
                <a:solidFill>
                  <a:schemeClr val="bg1"/>
                </a:solidFill>
                <a:latin typeface="Arial"/>
                <a:cs typeface="Arial"/>
              </a:rPr>
              <a:t>階層化</a:t>
            </a:r>
            <a:endParaRPr lang="en-US" sz="110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3" name="Group 11">
            <a:extLst>
              <a:ext uri="{FF2B5EF4-FFF2-40B4-BE49-F238E27FC236}">
                <a16:creationId xmlns:a16="http://schemas.microsoft.com/office/drawing/2014/main" id="{443555BE-07F3-48AB-B3B1-A6F162C9ECBB}"/>
              </a:ext>
            </a:extLst>
          </p:cNvPr>
          <p:cNvGrpSpPr/>
          <p:nvPr/>
        </p:nvGrpSpPr>
        <p:grpSpPr>
          <a:xfrm>
            <a:off x="2525562" y="968305"/>
            <a:ext cx="1353487" cy="775501"/>
            <a:chOff x="7186095" y="1399211"/>
            <a:chExt cx="1353487" cy="775501"/>
          </a:xfrm>
        </p:grpSpPr>
        <p:grpSp>
          <p:nvGrpSpPr>
            <p:cNvPr id="14" name="Group 8">
              <a:extLst>
                <a:ext uri="{FF2B5EF4-FFF2-40B4-BE49-F238E27FC236}">
                  <a16:creationId xmlns:a16="http://schemas.microsoft.com/office/drawing/2014/main" id="{C0238F99-93AF-4C4D-BD39-F07F40E2040A}"/>
                </a:ext>
              </a:extLst>
            </p:cNvPr>
            <p:cNvGrpSpPr/>
            <p:nvPr/>
          </p:nvGrpSpPr>
          <p:grpSpPr>
            <a:xfrm>
              <a:off x="7186095" y="1399211"/>
              <a:ext cx="1353487" cy="775501"/>
              <a:chOff x="7186095" y="1399211"/>
              <a:chExt cx="1353487" cy="775501"/>
            </a:xfrm>
          </p:grpSpPr>
          <p:sp>
            <p:nvSpPr>
              <p:cNvPr id="21" name="Rectangle 43">
                <a:extLst>
                  <a:ext uri="{FF2B5EF4-FFF2-40B4-BE49-F238E27FC236}">
                    <a16:creationId xmlns:a16="http://schemas.microsoft.com/office/drawing/2014/main" id="{5599BC49-0AF9-4013-939C-B378C12D5BFC}"/>
                  </a:ext>
                </a:extLst>
              </p:cNvPr>
              <p:cNvSpPr/>
              <p:nvPr/>
            </p:nvSpPr>
            <p:spPr>
              <a:xfrm>
                <a:off x="7186095" y="1399211"/>
                <a:ext cx="1353487" cy="271598"/>
              </a:xfrm>
              <a:prstGeom prst="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0" bIns="36000" rtlCol="0" anchor="ctr"/>
              <a:lstStyle/>
              <a:p>
                <a:pPr algn="ctr" defTabSz="685766"/>
                <a:r>
                  <a:rPr lang="en-US" sz="1050">
                    <a:solidFill>
                      <a:srgbClr val="FFFFFF"/>
                    </a:solidFill>
                    <a:latin typeface="Arial"/>
                  </a:rPr>
                  <a:t>VMware</a:t>
                </a:r>
              </a:p>
            </p:txBody>
          </p:sp>
          <p:sp>
            <p:nvSpPr>
              <p:cNvPr id="22" name="Content Placeholder 3">
                <a:extLst>
                  <a:ext uri="{FF2B5EF4-FFF2-40B4-BE49-F238E27FC236}">
                    <a16:creationId xmlns:a16="http://schemas.microsoft.com/office/drawing/2014/main" id="{CE4C59DA-BA23-45B8-B06D-BC10BAFA91D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86095" y="1670809"/>
                <a:ext cx="1353487" cy="503903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2">
                    <a:lumMod val="85000"/>
                  </a:schemeClr>
                </a:solidFill>
              </a:ln>
            </p:spPr>
            <p:txBody>
              <a:bodyPr lIns="108000" rIns="108000" anchor="t"/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defTabSz="457166">
                  <a:spcBef>
                    <a:spcPts val="0"/>
                  </a:spcBef>
                  <a:spcAft>
                    <a:spcPts val="300"/>
                  </a:spcAft>
                  <a:buClr>
                    <a:srgbClr val="0076CE"/>
                  </a:buClr>
                  <a:buNone/>
                  <a:defRPr/>
                </a:pPr>
                <a:endParaRPr lang="en-US" sz="1000">
                  <a:solidFill>
                    <a:srgbClr val="444444"/>
                  </a:solidFill>
                  <a:latin typeface="Arial"/>
                  <a:cs typeface="Helvetica"/>
                </a:endParaRPr>
              </a:p>
            </p:txBody>
          </p:sp>
        </p:grpSp>
        <p:sp>
          <p:nvSpPr>
            <p:cNvPr id="15" name="Rectangle 96">
              <a:extLst>
                <a:ext uri="{FF2B5EF4-FFF2-40B4-BE49-F238E27FC236}">
                  <a16:creationId xmlns:a16="http://schemas.microsoft.com/office/drawing/2014/main" id="{975ADCA0-FAFD-4587-B860-2E888949FD10}"/>
                </a:ext>
              </a:extLst>
            </p:cNvPr>
            <p:cNvSpPr/>
            <p:nvPr/>
          </p:nvSpPr>
          <p:spPr>
            <a:xfrm>
              <a:off x="7276469" y="1769302"/>
              <a:ext cx="371837" cy="161167"/>
            </a:xfrm>
            <a:prstGeom prst="rect">
              <a:avLst/>
            </a:prstGeom>
            <a:solidFill>
              <a:srgbClr val="6EA204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APP</a:t>
              </a:r>
            </a:p>
          </p:txBody>
        </p:sp>
        <p:sp>
          <p:nvSpPr>
            <p:cNvPr id="16" name="Rectangle 97">
              <a:extLst>
                <a:ext uri="{FF2B5EF4-FFF2-40B4-BE49-F238E27FC236}">
                  <a16:creationId xmlns:a16="http://schemas.microsoft.com/office/drawing/2014/main" id="{0EC034C2-F879-4B20-A295-0417D7D55FCE}"/>
                </a:ext>
              </a:extLst>
            </p:cNvPr>
            <p:cNvSpPr/>
            <p:nvPr/>
          </p:nvSpPr>
          <p:spPr>
            <a:xfrm>
              <a:off x="7276469" y="1929778"/>
              <a:ext cx="371837" cy="161167"/>
            </a:xfrm>
            <a:prstGeom prst="rect">
              <a:avLst/>
            </a:prstGeom>
            <a:solidFill>
              <a:srgbClr val="41B6E6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OS</a:t>
              </a:r>
            </a:p>
          </p:txBody>
        </p:sp>
        <p:sp>
          <p:nvSpPr>
            <p:cNvPr id="17" name="Rectangle 98">
              <a:extLst>
                <a:ext uri="{FF2B5EF4-FFF2-40B4-BE49-F238E27FC236}">
                  <a16:creationId xmlns:a16="http://schemas.microsoft.com/office/drawing/2014/main" id="{18821C25-B03E-48AA-BE50-CA0A148FDD0E}"/>
                </a:ext>
              </a:extLst>
            </p:cNvPr>
            <p:cNvSpPr/>
            <p:nvPr/>
          </p:nvSpPr>
          <p:spPr>
            <a:xfrm>
              <a:off x="7679267" y="1769302"/>
              <a:ext cx="371837" cy="161167"/>
            </a:xfrm>
            <a:prstGeom prst="rect">
              <a:avLst/>
            </a:prstGeom>
            <a:solidFill>
              <a:srgbClr val="6EA204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APP</a:t>
              </a:r>
            </a:p>
          </p:txBody>
        </p:sp>
        <p:sp>
          <p:nvSpPr>
            <p:cNvPr id="18" name="Rectangle 99">
              <a:extLst>
                <a:ext uri="{FF2B5EF4-FFF2-40B4-BE49-F238E27FC236}">
                  <a16:creationId xmlns:a16="http://schemas.microsoft.com/office/drawing/2014/main" id="{CF83CCB5-B756-4F22-89C7-A46C9E48FCE7}"/>
                </a:ext>
              </a:extLst>
            </p:cNvPr>
            <p:cNvSpPr/>
            <p:nvPr/>
          </p:nvSpPr>
          <p:spPr>
            <a:xfrm>
              <a:off x="7679267" y="1929778"/>
              <a:ext cx="371837" cy="161167"/>
            </a:xfrm>
            <a:prstGeom prst="rect">
              <a:avLst/>
            </a:prstGeom>
            <a:solidFill>
              <a:srgbClr val="41B6E6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OS</a:t>
              </a:r>
            </a:p>
          </p:txBody>
        </p:sp>
        <p:sp>
          <p:nvSpPr>
            <p:cNvPr id="19" name="Rectangle 100">
              <a:extLst>
                <a:ext uri="{FF2B5EF4-FFF2-40B4-BE49-F238E27FC236}">
                  <a16:creationId xmlns:a16="http://schemas.microsoft.com/office/drawing/2014/main" id="{DB77AD18-02FB-4062-8579-BFB42FF4E9B9}"/>
                </a:ext>
              </a:extLst>
            </p:cNvPr>
            <p:cNvSpPr/>
            <p:nvPr/>
          </p:nvSpPr>
          <p:spPr>
            <a:xfrm>
              <a:off x="8083978" y="1769302"/>
              <a:ext cx="371837" cy="161167"/>
            </a:xfrm>
            <a:prstGeom prst="rect">
              <a:avLst/>
            </a:prstGeom>
            <a:solidFill>
              <a:srgbClr val="6EA204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APP</a:t>
              </a:r>
            </a:p>
          </p:txBody>
        </p:sp>
        <p:sp>
          <p:nvSpPr>
            <p:cNvPr id="20" name="Rectangle 101">
              <a:extLst>
                <a:ext uri="{FF2B5EF4-FFF2-40B4-BE49-F238E27FC236}">
                  <a16:creationId xmlns:a16="http://schemas.microsoft.com/office/drawing/2014/main" id="{2C045B6B-07C2-4940-B3C3-7A9B36144CD7}"/>
                </a:ext>
              </a:extLst>
            </p:cNvPr>
            <p:cNvSpPr/>
            <p:nvPr/>
          </p:nvSpPr>
          <p:spPr>
            <a:xfrm>
              <a:off x="8083978" y="1929778"/>
              <a:ext cx="371837" cy="161167"/>
            </a:xfrm>
            <a:prstGeom prst="rect">
              <a:avLst/>
            </a:prstGeom>
            <a:solidFill>
              <a:srgbClr val="41B6E6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66"/>
              <a:r>
                <a:rPr lang="en-US" sz="800">
                  <a:solidFill>
                    <a:srgbClr val="FFFFFF"/>
                  </a:solidFill>
                  <a:latin typeface="Arial"/>
                </a:rPr>
                <a:t>OS</a:t>
              </a:r>
            </a:p>
          </p:txBody>
        </p:sp>
      </p:grpSp>
      <p:cxnSp>
        <p:nvCxnSpPr>
          <p:cNvPr id="23" name="Straight Arrow Connector 34">
            <a:extLst>
              <a:ext uri="{FF2B5EF4-FFF2-40B4-BE49-F238E27FC236}">
                <a16:creationId xmlns:a16="http://schemas.microsoft.com/office/drawing/2014/main" id="{3FD65660-E8FF-4169-94C5-1480DD214CD5}"/>
              </a:ext>
            </a:extLst>
          </p:cNvPr>
          <p:cNvCxnSpPr>
            <a:cxnSpLocks/>
          </p:cNvCxnSpPr>
          <p:nvPr/>
        </p:nvCxnSpPr>
        <p:spPr>
          <a:xfrm>
            <a:off x="3189981" y="2830032"/>
            <a:ext cx="0" cy="214198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102">
            <a:extLst>
              <a:ext uri="{FF2B5EF4-FFF2-40B4-BE49-F238E27FC236}">
                <a16:creationId xmlns:a16="http://schemas.microsoft.com/office/drawing/2014/main" id="{82D40F6C-FE81-4D5D-8BAD-85F5626216DC}"/>
              </a:ext>
            </a:extLst>
          </p:cNvPr>
          <p:cNvSpPr txBox="1"/>
          <p:nvPr/>
        </p:nvSpPr>
        <p:spPr>
          <a:xfrm>
            <a:off x="2429102" y="4619483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Snapshot Catalogue</a:t>
            </a:r>
          </a:p>
        </p:txBody>
      </p:sp>
      <p:sp>
        <p:nvSpPr>
          <p:cNvPr id="25" name="TextBox 104">
            <a:extLst>
              <a:ext uri="{FF2B5EF4-FFF2-40B4-BE49-F238E27FC236}">
                <a16:creationId xmlns:a16="http://schemas.microsoft.com/office/drawing/2014/main" id="{44FA482F-F9CB-48D9-A5AA-887BD017C295}"/>
              </a:ext>
            </a:extLst>
          </p:cNvPr>
          <p:cNvSpPr txBox="1"/>
          <p:nvPr/>
        </p:nvSpPr>
        <p:spPr>
          <a:xfrm>
            <a:off x="2429102" y="4311604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675">
                <a:solidFill>
                  <a:srgbClr val="444444"/>
                </a:solidFill>
                <a:latin typeface="Arial"/>
              </a:rPr>
              <a:t>Policies</a:t>
            </a:r>
            <a:r>
              <a:rPr lang="en-US" sz="750">
                <a:solidFill>
                  <a:srgbClr val="444444"/>
                </a:solidFill>
                <a:latin typeface="Arial"/>
              </a:rPr>
              <a:t> </a:t>
            </a:r>
            <a:r>
              <a:rPr lang="en-US" sz="675">
                <a:solidFill>
                  <a:srgbClr val="444444"/>
                </a:solidFill>
                <a:latin typeface="Arial"/>
              </a:rPr>
              <a:t>and</a:t>
            </a:r>
            <a:r>
              <a:rPr lang="en-US" sz="750">
                <a:solidFill>
                  <a:srgbClr val="444444"/>
                </a:solidFill>
                <a:latin typeface="Arial"/>
              </a:rPr>
              <a:t> </a:t>
            </a:r>
            <a:r>
              <a:rPr lang="en-US" sz="675">
                <a:solidFill>
                  <a:srgbClr val="444444"/>
                </a:solidFill>
                <a:latin typeface="Arial"/>
              </a:rPr>
              <a:t>Retention</a:t>
            </a:r>
          </a:p>
        </p:txBody>
      </p:sp>
      <p:sp>
        <p:nvSpPr>
          <p:cNvPr id="26" name="TextBox 105">
            <a:extLst>
              <a:ext uri="{FF2B5EF4-FFF2-40B4-BE49-F238E27FC236}">
                <a16:creationId xmlns:a16="http://schemas.microsoft.com/office/drawing/2014/main" id="{8B87ABDB-1349-4D8C-9D33-8C6E048E72D4}"/>
              </a:ext>
            </a:extLst>
          </p:cNvPr>
          <p:cNvSpPr txBox="1"/>
          <p:nvPr/>
        </p:nvSpPr>
        <p:spPr>
          <a:xfrm>
            <a:off x="2429102" y="4007875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Auto Discovery</a:t>
            </a:r>
          </a:p>
        </p:txBody>
      </p:sp>
      <p:sp>
        <p:nvSpPr>
          <p:cNvPr id="27" name="TextBox 106">
            <a:extLst>
              <a:ext uri="{FF2B5EF4-FFF2-40B4-BE49-F238E27FC236}">
                <a16:creationId xmlns:a16="http://schemas.microsoft.com/office/drawing/2014/main" id="{C5F0D43B-C8EE-4F0D-B9A5-29B5E8DF34CC}"/>
              </a:ext>
            </a:extLst>
          </p:cNvPr>
          <p:cNvSpPr txBox="1"/>
          <p:nvPr/>
        </p:nvSpPr>
        <p:spPr>
          <a:xfrm>
            <a:off x="2429102" y="3705868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Orchestration</a:t>
            </a:r>
          </a:p>
        </p:txBody>
      </p:sp>
      <p:sp>
        <p:nvSpPr>
          <p:cNvPr id="28" name="TextBox 107">
            <a:extLst>
              <a:ext uri="{FF2B5EF4-FFF2-40B4-BE49-F238E27FC236}">
                <a16:creationId xmlns:a16="http://schemas.microsoft.com/office/drawing/2014/main" id="{317C5CE2-224C-4BA6-A6ED-B48C81323C64}"/>
              </a:ext>
            </a:extLst>
          </p:cNvPr>
          <p:cNvSpPr txBox="1"/>
          <p:nvPr/>
        </p:nvSpPr>
        <p:spPr>
          <a:xfrm>
            <a:off x="2429102" y="3403024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RBAC</a:t>
            </a:r>
          </a:p>
        </p:txBody>
      </p:sp>
      <p:cxnSp>
        <p:nvCxnSpPr>
          <p:cNvPr id="29" name="Straight Arrow Connector 247">
            <a:extLst>
              <a:ext uri="{FF2B5EF4-FFF2-40B4-BE49-F238E27FC236}">
                <a16:creationId xmlns:a16="http://schemas.microsoft.com/office/drawing/2014/main" id="{A5C5B421-3482-44EB-8A25-1380A4BBDA05}"/>
              </a:ext>
            </a:extLst>
          </p:cNvPr>
          <p:cNvCxnSpPr>
            <a:cxnSpLocks/>
          </p:cNvCxnSpPr>
          <p:nvPr/>
        </p:nvCxnSpPr>
        <p:spPr>
          <a:xfrm>
            <a:off x="1554832" y="2830032"/>
            <a:ext cx="0" cy="214198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" name="Picture 15">
            <a:extLst>
              <a:ext uri="{FF2B5EF4-FFF2-40B4-BE49-F238E27FC236}">
                <a16:creationId xmlns:a16="http://schemas.microsoft.com/office/drawing/2014/main" id="{44C47023-2516-4490-A0D1-50AEA894A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5426" y="3119700"/>
            <a:ext cx="1894110" cy="1963489"/>
          </a:xfrm>
          <a:prstGeom prst="rect">
            <a:avLst/>
          </a:prstGeom>
        </p:spPr>
      </p:pic>
      <p:sp>
        <p:nvSpPr>
          <p:cNvPr id="31" name="Rectangle 222">
            <a:extLst>
              <a:ext uri="{FF2B5EF4-FFF2-40B4-BE49-F238E27FC236}">
                <a16:creationId xmlns:a16="http://schemas.microsoft.com/office/drawing/2014/main" id="{375EFE0E-3822-4A98-B669-A54908303CEE}"/>
              </a:ext>
            </a:extLst>
          </p:cNvPr>
          <p:cNvSpPr/>
          <p:nvPr/>
        </p:nvSpPr>
        <p:spPr>
          <a:xfrm>
            <a:off x="4457701" y="4085670"/>
            <a:ext cx="825644" cy="235598"/>
          </a:xfrm>
          <a:prstGeom prst="rect">
            <a:avLst/>
          </a:prstGeom>
          <a:noFill/>
          <a:ln w="127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749">
              <a:defRPr/>
            </a:pPr>
            <a:r>
              <a:rPr lang="ja-JP" altLang="en-US" sz="1100">
                <a:solidFill>
                  <a:schemeClr val="bg1"/>
                </a:solidFill>
                <a:latin typeface="Arial"/>
                <a:cs typeface="Arial"/>
              </a:rPr>
              <a:t>クラウドへ</a:t>
            </a:r>
            <a:r>
              <a:rPr lang="en-US" sz="1100">
                <a:solidFill>
                  <a:schemeClr val="bg1"/>
                </a:solidFill>
                <a:latin typeface="Arial"/>
                <a:cs typeface="Arial"/>
              </a:rPr>
              <a:t> DR</a:t>
            </a:r>
          </a:p>
        </p:txBody>
      </p:sp>
      <p:cxnSp>
        <p:nvCxnSpPr>
          <p:cNvPr id="32" name="Straight Arrow Connector 19">
            <a:extLst>
              <a:ext uri="{FF2B5EF4-FFF2-40B4-BE49-F238E27FC236}">
                <a16:creationId xmlns:a16="http://schemas.microsoft.com/office/drawing/2014/main" id="{3EE4555F-D5EC-43D7-AC24-97C40A15DA55}"/>
              </a:ext>
            </a:extLst>
          </p:cNvPr>
          <p:cNvCxnSpPr/>
          <p:nvPr/>
        </p:nvCxnSpPr>
        <p:spPr>
          <a:xfrm>
            <a:off x="4376650" y="2114550"/>
            <a:ext cx="989606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22">
            <a:extLst>
              <a:ext uri="{FF2B5EF4-FFF2-40B4-BE49-F238E27FC236}">
                <a16:creationId xmlns:a16="http://schemas.microsoft.com/office/drawing/2014/main" id="{5E08C602-1400-43CF-AF48-71243936F275}"/>
              </a:ext>
            </a:extLst>
          </p:cNvPr>
          <p:cNvCxnSpPr>
            <a:endCxn id="5" idx="3"/>
          </p:cNvCxnSpPr>
          <p:nvPr/>
        </p:nvCxnSpPr>
        <p:spPr>
          <a:xfrm rot="5400000">
            <a:off x="3005738" y="2777507"/>
            <a:ext cx="2043006" cy="698819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25">
            <a:extLst>
              <a:ext uri="{FF2B5EF4-FFF2-40B4-BE49-F238E27FC236}">
                <a16:creationId xmlns:a16="http://schemas.microsoft.com/office/drawing/2014/main" id="{43617FFD-FD89-49A3-A531-E79FCACA8706}"/>
              </a:ext>
            </a:extLst>
          </p:cNvPr>
          <p:cNvCxnSpPr/>
          <p:nvPr/>
        </p:nvCxnSpPr>
        <p:spPr>
          <a:xfrm>
            <a:off x="3677834" y="4457700"/>
            <a:ext cx="1733753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Group 2">
            <a:extLst>
              <a:ext uri="{FF2B5EF4-FFF2-40B4-BE49-F238E27FC236}">
                <a16:creationId xmlns:a16="http://schemas.microsoft.com/office/drawing/2014/main" id="{2DFF17C4-E86C-49E3-AD35-4057FC97AC65}"/>
              </a:ext>
            </a:extLst>
          </p:cNvPr>
          <p:cNvGrpSpPr/>
          <p:nvPr/>
        </p:nvGrpSpPr>
        <p:grpSpPr>
          <a:xfrm>
            <a:off x="6016860" y="632509"/>
            <a:ext cx="665020" cy="360932"/>
            <a:chOff x="6209332" y="3671054"/>
            <a:chExt cx="886693" cy="481243"/>
          </a:xfrm>
        </p:grpSpPr>
        <p:pic>
          <p:nvPicPr>
            <p:cNvPr id="36" name="Graphic 223">
              <a:extLst>
                <a:ext uri="{FF2B5EF4-FFF2-40B4-BE49-F238E27FC236}">
                  <a16:creationId xmlns:a16="http://schemas.microsoft.com/office/drawing/2014/main" id="{7114A41B-626C-496A-A498-AD393E51B4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227120" y="3671054"/>
              <a:ext cx="806085" cy="481243"/>
            </a:xfrm>
            <a:prstGeom prst="rect">
              <a:avLst/>
            </a:prstGeom>
          </p:spPr>
        </p:pic>
        <p:sp>
          <p:nvSpPr>
            <p:cNvPr id="37" name="Rectangle 226">
              <a:extLst>
                <a:ext uri="{FF2B5EF4-FFF2-40B4-BE49-F238E27FC236}">
                  <a16:creationId xmlns:a16="http://schemas.microsoft.com/office/drawing/2014/main" id="{621FD7DD-CD2E-4137-9732-DCF82810EBE1}"/>
                </a:ext>
              </a:extLst>
            </p:cNvPr>
            <p:cNvSpPr/>
            <p:nvPr/>
          </p:nvSpPr>
          <p:spPr>
            <a:xfrm>
              <a:off x="6209332" y="3782399"/>
              <a:ext cx="886693" cy="314131"/>
            </a:xfrm>
            <a:prstGeom prst="rect">
              <a:avLst/>
            </a:prstGeom>
            <a:noFill/>
            <a:ln w="1270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685749">
                <a:defRPr/>
              </a:pPr>
              <a:r>
                <a:rPr lang="en-US" sz="1100">
                  <a:solidFill>
                    <a:schemeClr val="tx2"/>
                  </a:solidFill>
                  <a:latin typeface="Arial"/>
                  <a:cs typeface="Arial"/>
                </a:rPr>
                <a:t>Cloud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07F993B5-E88D-40A2-A47A-3665E62F60A1}"/>
              </a:ext>
            </a:extLst>
          </p:cNvPr>
          <p:cNvSpPr txBox="1"/>
          <p:nvPr/>
        </p:nvSpPr>
        <p:spPr>
          <a:xfrm>
            <a:off x="1212311" y="3401924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12TB – 96TB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D4ED9DB-5C4B-487A-A975-1F0A931336EC}"/>
              </a:ext>
            </a:extLst>
          </p:cNvPr>
          <p:cNvSpPr txBox="1"/>
          <p:nvPr/>
        </p:nvSpPr>
        <p:spPr>
          <a:xfrm>
            <a:off x="1212311" y="3701997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Search servic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D76E7D4-350A-49F6-831E-2C165F9DDD40}"/>
              </a:ext>
            </a:extLst>
          </p:cNvPr>
          <p:cNvSpPr txBox="1"/>
          <p:nvPr/>
        </p:nvSpPr>
        <p:spPr>
          <a:xfrm>
            <a:off x="1212311" y="3995876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Reporting servic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9CF63E-DAE8-4A50-9402-BB22AB0B5746}"/>
              </a:ext>
            </a:extLst>
          </p:cNvPr>
          <p:cNvSpPr txBox="1"/>
          <p:nvPr/>
        </p:nvSpPr>
        <p:spPr>
          <a:xfrm>
            <a:off x="1203609" y="4307732"/>
            <a:ext cx="949681" cy="376239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ja-JP" altLang="en-US" sz="750">
                <a:solidFill>
                  <a:srgbClr val="444444"/>
                </a:solidFill>
                <a:latin typeface="Arial"/>
              </a:rPr>
              <a:t>組み込み</a:t>
            </a:r>
            <a:r>
              <a:rPr lang="en-US" sz="750">
                <a:solidFill>
                  <a:srgbClr val="444444"/>
                </a:solidFill>
                <a:latin typeface="Arial"/>
              </a:rPr>
              <a:t> </a:t>
            </a:r>
            <a:r>
              <a:rPr lang="en-US" altLang="ja-JP" sz="750">
                <a:solidFill>
                  <a:srgbClr val="444444"/>
                </a:solidFill>
                <a:latin typeface="Arial"/>
              </a:rPr>
              <a:t>PPDM</a:t>
            </a:r>
            <a:br>
              <a:rPr lang="en-US" altLang="ja-JP" sz="750">
                <a:solidFill>
                  <a:srgbClr val="444444"/>
                </a:solidFill>
                <a:latin typeface="Arial"/>
              </a:rPr>
            </a:br>
            <a:r>
              <a:rPr lang="en-US" altLang="ja-JP" sz="750">
                <a:solidFill>
                  <a:srgbClr val="444444"/>
                </a:solidFill>
                <a:latin typeface="Arial"/>
              </a:rPr>
              <a:t>VM</a:t>
            </a:r>
            <a:r>
              <a:rPr lang="ja-JP" altLang="en-US" sz="750">
                <a:solidFill>
                  <a:srgbClr val="444444"/>
                </a:solidFill>
                <a:latin typeface="Arial"/>
              </a:rPr>
              <a:t> </a:t>
            </a:r>
            <a:r>
              <a:rPr lang="en-US" sz="750">
                <a:solidFill>
                  <a:srgbClr val="444444"/>
                </a:solidFill>
                <a:latin typeface="Arial"/>
              </a:rPr>
              <a:t>Prox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E6AED44-CF8F-483D-9200-18D9D6BE91A0}"/>
              </a:ext>
            </a:extLst>
          </p:cNvPr>
          <p:cNvSpPr txBox="1"/>
          <p:nvPr/>
        </p:nvSpPr>
        <p:spPr>
          <a:xfrm>
            <a:off x="1212311" y="4619483"/>
            <a:ext cx="949681" cy="26082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0" tIns="72000" rIns="0" bIns="72000" rtlCol="0">
            <a:spAutoFit/>
          </a:bodyPr>
          <a:lstStyle/>
          <a:p>
            <a:pPr algn="ctr" defTabSz="685766"/>
            <a:r>
              <a:rPr lang="en-US" sz="750">
                <a:solidFill>
                  <a:srgbClr val="444444"/>
                </a:solidFill>
                <a:latin typeface="Arial"/>
              </a:rPr>
              <a:t>Self-service restores</a:t>
            </a:r>
          </a:p>
        </p:txBody>
      </p:sp>
      <p:sp>
        <p:nvSpPr>
          <p:cNvPr id="43" name="Rectangle 159">
            <a:extLst>
              <a:ext uri="{FF2B5EF4-FFF2-40B4-BE49-F238E27FC236}">
                <a16:creationId xmlns:a16="http://schemas.microsoft.com/office/drawing/2014/main" id="{02225AB5-ACE1-43C0-A3F7-D347E3C11F5D}"/>
              </a:ext>
            </a:extLst>
          </p:cNvPr>
          <p:cNvSpPr/>
          <p:nvPr/>
        </p:nvSpPr>
        <p:spPr>
          <a:xfrm>
            <a:off x="5406920" y="1058938"/>
            <a:ext cx="1872617" cy="1901648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>
              <a:solidFill>
                <a:schemeClr val="tx2"/>
              </a:solidFill>
            </a:endParaRPr>
          </a:p>
        </p:txBody>
      </p:sp>
      <p:grpSp>
        <p:nvGrpSpPr>
          <p:cNvPr id="44" name="Group 1">
            <a:extLst>
              <a:ext uri="{FF2B5EF4-FFF2-40B4-BE49-F238E27FC236}">
                <a16:creationId xmlns:a16="http://schemas.microsoft.com/office/drawing/2014/main" id="{F4D07748-4E17-4627-976D-DC5C0B69D77A}"/>
              </a:ext>
            </a:extLst>
          </p:cNvPr>
          <p:cNvGrpSpPr/>
          <p:nvPr/>
        </p:nvGrpSpPr>
        <p:grpSpPr>
          <a:xfrm>
            <a:off x="5995143" y="1132855"/>
            <a:ext cx="688294" cy="410919"/>
            <a:chOff x="10752496" y="1959646"/>
            <a:chExt cx="917725" cy="547892"/>
          </a:xfrm>
        </p:grpSpPr>
        <p:pic>
          <p:nvPicPr>
            <p:cNvPr id="45" name="Graphic 171">
              <a:extLst>
                <a:ext uri="{FF2B5EF4-FFF2-40B4-BE49-F238E27FC236}">
                  <a16:creationId xmlns:a16="http://schemas.microsoft.com/office/drawing/2014/main" id="{269CD69F-759C-472F-8112-C2F1866E1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752496" y="1959646"/>
              <a:ext cx="917725" cy="547892"/>
            </a:xfrm>
            <a:prstGeom prst="rect">
              <a:avLst/>
            </a:prstGeom>
          </p:spPr>
        </p:pic>
        <p:sp>
          <p:nvSpPr>
            <p:cNvPr id="46" name="TextBox 172">
              <a:extLst>
                <a:ext uri="{FF2B5EF4-FFF2-40B4-BE49-F238E27FC236}">
                  <a16:creationId xmlns:a16="http://schemas.microsoft.com/office/drawing/2014/main" id="{6E40098C-F60B-4A96-9012-1DF629CFA965}"/>
                </a:ext>
              </a:extLst>
            </p:cNvPr>
            <p:cNvSpPr txBox="1"/>
            <p:nvPr/>
          </p:nvSpPr>
          <p:spPr>
            <a:xfrm>
              <a:off x="11057468" y="2214490"/>
              <a:ext cx="307777" cy="161669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788">
                  <a:solidFill>
                    <a:schemeClr val="bg1"/>
                  </a:solidFill>
                </a:rPr>
                <a:t>AWS</a:t>
              </a:r>
            </a:p>
          </p:txBody>
        </p:sp>
      </p:grpSp>
      <p:grpSp>
        <p:nvGrpSpPr>
          <p:cNvPr id="47" name="Group 163">
            <a:extLst>
              <a:ext uri="{FF2B5EF4-FFF2-40B4-BE49-F238E27FC236}">
                <a16:creationId xmlns:a16="http://schemas.microsoft.com/office/drawing/2014/main" id="{4D30A229-BA2E-490C-A83E-E9BF88CB672F}"/>
              </a:ext>
            </a:extLst>
          </p:cNvPr>
          <p:cNvGrpSpPr/>
          <p:nvPr/>
        </p:nvGrpSpPr>
        <p:grpSpPr>
          <a:xfrm>
            <a:off x="5995143" y="1587848"/>
            <a:ext cx="688294" cy="410919"/>
            <a:chOff x="11031122" y="2932057"/>
            <a:chExt cx="689500" cy="411640"/>
          </a:xfrm>
        </p:grpSpPr>
        <p:pic>
          <p:nvPicPr>
            <p:cNvPr id="48" name="Graphic 167">
              <a:extLst>
                <a:ext uri="{FF2B5EF4-FFF2-40B4-BE49-F238E27FC236}">
                  <a16:creationId xmlns:a16="http://schemas.microsoft.com/office/drawing/2014/main" id="{D938A9F7-99CF-4003-8722-DF25D49AC0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031122" y="2932057"/>
              <a:ext cx="689500" cy="411640"/>
            </a:xfrm>
            <a:prstGeom prst="rect">
              <a:avLst/>
            </a:prstGeom>
          </p:spPr>
        </p:pic>
        <p:sp>
          <p:nvSpPr>
            <p:cNvPr id="49" name="TextBox 168">
              <a:extLst>
                <a:ext uri="{FF2B5EF4-FFF2-40B4-BE49-F238E27FC236}">
                  <a16:creationId xmlns:a16="http://schemas.microsoft.com/office/drawing/2014/main" id="{70D651A0-9793-4F3F-B87F-012705107C02}"/>
                </a:ext>
              </a:extLst>
            </p:cNvPr>
            <p:cNvSpPr txBox="1"/>
            <p:nvPr/>
          </p:nvSpPr>
          <p:spPr>
            <a:xfrm>
              <a:off x="11243390" y="3123525"/>
              <a:ext cx="264959" cy="1214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788">
                  <a:solidFill>
                    <a:schemeClr val="bg1"/>
                  </a:solidFill>
                </a:rPr>
                <a:t>Azure</a:t>
              </a:r>
            </a:p>
          </p:txBody>
        </p:sp>
      </p:grpSp>
      <p:grpSp>
        <p:nvGrpSpPr>
          <p:cNvPr id="50" name="Group 173">
            <a:extLst>
              <a:ext uri="{FF2B5EF4-FFF2-40B4-BE49-F238E27FC236}">
                <a16:creationId xmlns:a16="http://schemas.microsoft.com/office/drawing/2014/main" id="{4A8BE422-4289-43CE-820A-91D2F8161A95}"/>
              </a:ext>
            </a:extLst>
          </p:cNvPr>
          <p:cNvGrpSpPr/>
          <p:nvPr/>
        </p:nvGrpSpPr>
        <p:grpSpPr>
          <a:xfrm>
            <a:off x="6016860" y="2041232"/>
            <a:ext cx="688294" cy="410919"/>
            <a:chOff x="11031122" y="2932057"/>
            <a:chExt cx="689500" cy="411640"/>
          </a:xfrm>
        </p:grpSpPr>
        <p:pic>
          <p:nvPicPr>
            <p:cNvPr id="51" name="Graphic 174">
              <a:extLst>
                <a:ext uri="{FF2B5EF4-FFF2-40B4-BE49-F238E27FC236}">
                  <a16:creationId xmlns:a16="http://schemas.microsoft.com/office/drawing/2014/main" id="{DBA6C671-A3E6-4B19-ACA2-044D38ADE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031122" y="2932057"/>
              <a:ext cx="689500" cy="411640"/>
            </a:xfrm>
            <a:prstGeom prst="rect">
              <a:avLst/>
            </a:prstGeom>
          </p:spPr>
        </p:pic>
        <p:sp>
          <p:nvSpPr>
            <p:cNvPr id="52" name="TextBox 175">
              <a:extLst>
                <a:ext uri="{FF2B5EF4-FFF2-40B4-BE49-F238E27FC236}">
                  <a16:creationId xmlns:a16="http://schemas.microsoft.com/office/drawing/2014/main" id="{107C12F1-9613-472B-A23A-AD7670D58919}"/>
                </a:ext>
              </a:extLst>
            </p:cNvPr>
            <p:cNvSpPr txBox="1"/>
            <p:nvPr/>
          </p:nvSpPr>
          <p:spPr>
            <a:xfrm>
              <a:off x="11271493" y="3123525"/>
              <a:ext cx="208755" cy="1214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788">
                  <a:solidFill>
                    <a:schemeClr val="bg1"/>
                  </a:solidFill>
                </a:rPr>
                <a:t>EC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FC021E8-45C1-4435-A8D5-70092F3AB13B}"/>
              </a:ext>
            </a:extLst>
          </p:cNvPr>
          <p:cNvGrpSpPr/>
          <p:nvPr/>
        </p:nvGrpSpPr>
        <p:grpSpPr>
          <a:xfrm>
            <a:off x="6016860" y="2517647"/>
            <a:ext cx="688294" cy="410919"/>
            <a:chOff x="11031122" y="2932057"/>
            <a:chExt cx="689500" cy="411640"/>
          </a:xfrm>
        </p:grpSpPr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D1D7976C-CF31-4330-B0DC-006867A17B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031122" y="2932057"/>
              <a:ext cx="689500" cy="411640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AC64910-040B-49A0-9107-E8C900BF6633}"/>
                </a:ext>
              </a:extLst>
            </p:cNvPr>
            <p:cNvSpPr txBox="1"/>
            <p:nvPr/>
          </p:nvSpPr>
          <p:spPr>
            <a:xfrm>
              <a:off x="11265872" y="3123525"/>
              <a:ext cx="219997" cy="1214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788">
                  <a:solidFill>
                    <a:schemeClr val="bg1"/>
                  </a:solidFill>
                </a:rPr>
                <a:t>GC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0247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F6D124-4EA1-E9AA-2611-6793893FC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864657"/>
            <a:ext cx="6716520" cy="560923"/>
          </a:xfrm>
        </p:spPr>
        <p:txBody>
          <a:bodyPr/>
          <a:lstStyle/>
          <a:p>
            <a:r>
              <a:rPr lang="ja-JP" altLang="en-US" dirty="0"/>
              <a:t>ハードウェア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37D7203-5671-C0FC-73CE-FD7FEE65D5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199446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DA7FBC-3405-4CAC-ADF2-913F572B58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2" progId="TCLayout.ActiveDocument.1">
                  <p:embed/>
                </p:oleObj>
              </mc:Choice>
              <mc:Fallback>
                <p:oleObj name="think-cell Slide" r:id="rId4" imgW="416" imgH="41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DA7FBC-3405-4CAC-ADF2-913F572B5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15DDD7-199F-4BBE-AA53-FAA534933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1"/>
            <a:ext cx="8572500" cy="332399"/>
          </a:xfrm>
        </p:spPr>
        <p:txBody>
          <a:bodyPr vert="horz"/>
          <a:lstStyle/>
          <a:p>
            <a:pPr>
              <a:defRPr>
                <a:solidFill>
                  <a:schemeClr val="tx2"/>
                </a:solidFill>
              </a:defRPr>
            </a:pPr>
            <a:r>
              <a:rPr lang="en-US" sz="2400" dirty="0" err="1">
                <a:solidFill>
                  <a:srgbClr val="0070C0"/>
                </a:solidFill>
              </a:rPr>
              <a:t>PowerProtect</a:t>
            </a:r>
            <a:r>
              <a:rPr lang="en-US" sz="2400" dirty="0">
                <a:solidFill>
                  <a:srgbClr val="0070C0"/>
                </a:solidFill>
              </a:rPr>
              <a:t> DM5500 HW</a:t>
            </a:r>
            <a:r>
              <a:rPr lang="ja-JP" altLang="en-US" sz="2400" dirty="0">
                <a:solidFill>
                  <a:srgbClr val="0070C0"/>
                </a:solidFill>
              </a:rPr>
              <a:t> </a:t>
            </a:r>
            <a:r>
              <a:rPr sz="2400" dirty="0" err="1">
                <a:solidFill>
                  <a:srgbClr val="0070C0"/>
                </a:solidFill>
              </a:rPr>
              <a:t>概要</a:t>
            </a:r>
            <a:endParaRPr sz="2400" dirty="0">
              <a:solidFill>
                <a:srgbClr val="0070C0"/>
              </a:solidFill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D923946-F324-4312-B77B-E4FEA0556B08}"/>
              </a:ext>
            </a:extLst>
          </p:cNvPr>
          <p:cNvGrpSpPr/>
          <p:nvPr/>
        </p:nvGrpSpPr>
        <p:grpSpPr>
          <a:xfrm>
            <a:off x="305524" y="897564"/>
            <a:ext cx="4590512" cy="3024336"/>
            <a:chOff x="6421339" y="1703921"/>
            <a:chExt cx="6552829" cy="438037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BD4D7BD-ADE8-4EA1-BECB-5E0DC22BA323}"/>
                </a:ext>
              </a:extLst>
            </p:cNvPr>
            <p:cNvGrpSpPr/>
            <p:nvPr/>
          </p:nvGrpSpPr>
          <p:grpSpPr>
            <a:xfrm>
              <a:off x="6421339" y="1703921"/>
              <a:ext cx="6552829" cy="4380371"/>
              <a:chOff x="5000619" y="1004185"/>
              <a:chExt cx="5570332" cy="543211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A59D074-9404-4274-8ECC-4F1F58563909}"/>
                  </a:ext>
                </a:extLst>
              </p:cNvPr>
              <p:cNvSpPr txBox="1"/>
              <p:nvPr/>
            </p:nvSpPr>
            <p:spPr>
              <a:xfrm>
                <a:off x="5000622" y="1004185"/>
                <a:ext cx="5570329" cy="5432111"/>
              </a:xfrm>
              <a:prstGeom prst="rect">
                <a:avLst/>
              </a:prstGeom>
              <a:solidFill>
                <a:schemeClr val="tx2">
                  <a:lumMod val="9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t"/>
              <a:lstStyle>
                <a:defPPr>
                  <a:defRPr lang="en-US"/>
                </a:defPPr>
                <a:lvl1pPr defTabSz="684213">
                  <a:defRPr sz="1000" b="1">
                    <a:solidFill>
                      <a:schemeClr val="bg1"/>
                    </a:solidFill>
                    <a:latin typeface="Arial"/>
                    <a:cs typeface="Arial"/>
                  </a:defRPr>
                </a:lvl1pPr>
                <a:lvl2pPr marL="742950" indent="-285750" defTabSz="684213">
                  <a:defRPr sz="1300">
                    <a:latin typeface="Arial" panose="020B0604020202020204" pitchFamily="34" charset="0"/>
                  </a:defRPr>
                </a:lvl2pPr>
                <a:lvl3pPr marL="1143000" indent="-228600" defTabSz="684213">
                  <a:defRPr sz="1300">
                    <a:latin typeface="Arial" panose="020B0604020202020204" pitchFamily="34" charset="0"/>
                  </a:defRPr>
                </a:lvl3pPr>
                <a:lvl4pPr marL="1600200" indent="-228600" defTabSz="684213">
                  <a:defRPr sz="1300">
                    <a:latin typeface="Arial" panose="020B0604020202020204" pitchFamily="34" charset="0"/>
                  </a:defRPr>
                </a:lvl4pPr>
                <a:lvl5pPr marL="2057400" indent="-228600" defTabSz="684213">
                  <a:defRPr sz="1300">
                    <a:latin typeface="Arial" panose="020B0604020202020204" pitchFamily="34" charset="0"/>
                  </a:defRPr>
                </a:lvl5pPr>
                <a:lvl6pPr marL="2514600" indent="-228600" defTabSz="684213" fontAlgn="base">
                  <a:spcBef>
                    <a:spcPct val="0"/>
                  </a:spcBef>
                  <a:spcAft>
                    <a:spcPct val="0"/>
                  </a:spcAft>
                  <a:defRPr sz="1300">
                    <a:latin typeface="Arial" panose="020B0604020202020204" pitchFamily="34" charset="0"/>
                  </a:defRPr>
                </a:lvl6pPr>
                <a:lvl7pPr marL="2971800" indent="-228600" defTabSz="684213" fontAlgn="base">
                  <a:spcBef>
                    <a:spcPct val="0"/>
                  </a:spcBef>
                  <a:spcAft>
                    <a:spcPct val="0"/>
                  </a:spcAft>
                  <a:defRPr sz="1300">
                    <a:latin typeface="Arial" panose="020B0604020202020204" pitchFamily="34" charset="0"/>
                  </a:defRPr>
                </a:lvl7pPr>
                <a:lvl8pPr marL="3429000" indent="-228600" defTabSz="684213" fontAlgn="base">
                  <a:spcBef>
                    <a:spcPct val="0"/>
                  </a:spcBef>
                  <a:spcAft>
                    <a:spcPct val="0"/>
                  </a:spcAft>
                  <a:defRPr sz="1300">
                    <a:latin typeface="Arial" panose="020B0604020202020204" pitchFamily="34" charset="0"/>
                  </a:defRPr>
                </a:lvl8pPr>
                <a:lvl9pPr marL="3886200" indent="-228600" defTabSz="684213" fontAlgn="base">
                  <a:spcBef>
                    <a:spcPct val="0"/>
                  </a:spcBef>
                  <a:spcAft>
                    <a:spcPct val="0"/>
                  </a:spcAft>
                  <a:defRPr sz="1300">
                    <a:latin typeface="Arial" panose="020B0604020202020204" pitchFamily="34" charset="0"/>
                  </a:defRPr>
                </a:lvl9pPr>
              </a:lstStyle>
              <a:p>
                <a:pPr defTabSz="684145">
                  <a:defRPr/>
                </a:pPr>
                <a:endParaRPr lang="en-US" sz="1050">
                  <a:solidFill>
                    <a:srgbClr val="0076CE"/>
                  </a:solidFill>
                </a:endParaRPr>
              </a:p>
              <a:p>
                <a:pPr defTabSz="684145">
                  <a:defRPr/>
                </a:pPr>
                <a:endParaRPr lang="en-US" sz="1050">
                  <a:solidFill>
                    <a:srgbClr val="0076CE"/>
                  </a:solidFill>
                </a:endParaRPr>
              </a:p>
              <a:p>
                <a:pPr defTabSz="684145">
                  <a:defRPr/>
                </a:pPr>
                <a:endParaRPr lang="en-US" sz="1050">
                  <a:solidFill>
                    <a:srgbClr val="0076CE"/>
                  </a:solidFill>
                </a:endParaRPr>
              </a:p>
            </p:txBody>
          </p:sp>
          <p:sp>
            <p:nvSpPr>
              <p:cNvPr id="29" name="Left-Right Arrow 33">
                <a:extLst>
                  <a:ext uri="{FF2B5EF4-FFF2-40B4-BE49-F238E27FC236}">
                    <a16:creationId xmlns:a16="http://schemas.microsoft.com/office/drawing/2014/main" id="{A89FA2C1-6EA1-4AF3-AEF3-6B1700612ACD}"/>
                  </a:ext>
                </a:extLst>
              </p:cNvPr>
              <p:cNvSpPr/>
              <p:nvPr/>
            </p:nvSpPr>
            <p:spPr>
              <a:xfrm rot="10800000">
                <a:off x="5000619" y="1004185"/>
                <a:ext cx="5570331" cy="609258"/>
              </a:xfrm>
              <a:prstGeom prst="rect">
                <a:avLst/>
              </a:prstGeom>
              <a:gradFill>
                <a:gsLst>
                  <a:gs pos="48000">
                    <a:schemeClr val="bg1"/>
                  </a:gs>
                  <a:gs pos="100000">
                    <a:schemeClr val="bg1">
                      <a:lumMod val="60000"/>
                      <a:lumOff val="40000"/>
                    </a:schemeClr>
                  </a:gs>
                </a:gsLst>
                <a:lin ang="16200000" scaled="1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732"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F1F3A5D-9405-483F-80C1-4682CDBDC885}"/>
                </a:ext>
              </a:extLst>
            </p:cNvPr>
            <p:cNvSpPr txBox="1"/>
            <p:nvPr/>
          </p:nvSpPr>
          <p:spPr>
            <a:xfrm>
              <a:off x="6598012" y="2293614"/>
              <a:ext cx="6299064" cy="3777949"/>
            </a:xfrm>
            <a:prstGeom prst="rect">
              <a:avLst/>
            </a:prstGeom>
            <a:noFill/>
          </p:spPr>
          <p:txBody>
            <a:bodyPr wrap="square" lIns="68580" tIns="34290" rIns="68580" bIns="34290" anchor="t">
              <a:spAutoFit/>
            </a:bodyPr>
            <a:lstStyle/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444444">
                    <a:lumMod val="60000"/>
                    <a:lumOff val="40000"/>
                  </a:srgbClr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sz="1200" dirty="0"/>
                <a:t>R740xd2 </a:t>
              </a:r>
              <a:r>
                <a:rPr lang="en-US" sz="1200" dirty="0"/>
                <a:t>PowerEdge</a:t>
              </a:r>
              <a:r>
                <a:rPr lang="ja-JP" altLang="en-US" sz="1200" dirty="0"/>
                <a:t>サーバ</a:t>
              </a:r>
              <a:endParaRPr lang="en-US" sz="1200" dirty="0">
                <a:solidFill>
                  <a:srgbClr val="444444"/>
                </a:solidFill>
                <a:latin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444444">
                    <a:lumMod val="60000"/>
                    <a:lumOff val="40000"/>
                  </a:srgbClr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sz="1200" dirty="0"/>
                <a:t>20 </a:t>
              </a:r>
              <a:r>
                <a:rPr lang="en-US" altLang="ja-JP" sz="1200" dirty="0"/>
                <a:t>Core</a:t>
              </a:r>
              <a:r>
                <a:rPr sz="1200" dirty="0"/>
                <a:t> </a:t>
              </a:r>
              <a:r>
                <a:rPr lang="en-US" altLang="ja-JP" sz="1200" dirty="0"/>
                <a:t>Cascade Lake</a:t>
              </a:r>
              <a:r>
                <a:rPr sz="1200" dirty="0"/>
                <a:t> </a:t>
              </a:r>
              <a:r>
                <a:rPr lang="en-US" altLang="ja-JP" sz="1200" dirty="0"/>
                <a:t>Intel</a:t>
              </a:r>
              <a:r>
                <a:rPr sz="1200" dirty="0"/>
                <a:t> CPU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sz="1200" dirty="0"/>
                <a:t>最大256TBまで拡張するための384GBのRAM</a:t>
              </a: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sz="1200" dirty="0" err="1"/>
                <a:t>ハードウェア</a:t>
              </a:r>
              <a:r>
                <a:rPr lang="ja-JP" altLang="en-US" sz="1200" dirty="0"/>
                <a:t>データ</a:t>
              </a:r>
              <a:r>
                <a:rPr sz="1200" dirty="0" err="1"/>
                <a:t>圧縮</a:t>
              </a:r>
              <a:r>
                <a:rPr lang="ja-JP" altLang="en-US" sz="1200" dirty="0"/>
                <a:t>カード</a:t>
              </a:r>
              <a:endParaRPr lang="en-US" sz="1200" dirty="0">
                <a:solidFill>
                  <a:srgbClr val="000000"/>
                </a:solidFill>
                <a:latin typeface="Arial"/>
                <a:cs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lang="en-US" altLang="ja-JP" sz="1200" dirty="0"/>
                <a:t>Cash Tier</a:t>
              </a:r>
              <a:r>
                <a:rPr lang="ja-JP" altLang="en-US" sz="1200" dirty="0"/>
                <a:t>用の</a:t>
              </a:r>
              <a:r>
                <a:rPr lang="en-US" altLang="ja-JP" sz="1200" dirty="0"/>
                <a:t>SSD</a:t>
              </a: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sz="1200" dirty="0">
                  <a:ea typeface="+mn-lt"/>
                </a:rPr>
                <a:t>OS</a:t>
              </a:r>
              <a:r>
                <a:rPr lang="ja-JP" altLang="en-US" sz="1200" dirty="0">
                  <a:ea typeface="+mn-lt"/>
                </a:rPr>
                <a:t> </a:t>
              </a:r>
              <a:r>
                <a:rPr lang="en-US" altLang="ja-JP" sz="1200" dirty="0">
                  <a:ea typeface="+mn-lt"/>
                </a:rPr>
                <a:t>Drive</a:t>
              </a:r>
              <a:r>
                <a:rPr lang="ja-JP" altLang="en-US" sz="1200" dirty="0">
                  <a:ea typeface="+mn-lt"/>
                </a:rPr>
                <a:t>用の</a:t>
              </a:r>
              <a:r>
                <a:rPr lang="en-US" altLang="ja-JP" sz="1200" dirty="0">
                  <a:ea typeface="+mn-lt"/>
                </a:rPr>
                <a:t>SSD</a:t>
              </a:r>
              <a:r>
                <a:rPr lang="ja-JP" altLang="en-US" sz="1200" dirty="0">
                  <a:ea typeface="+mn-lt"/>
                </a:rPr>
                <a:t>、</a:t>
              </a:r>
              <a:r>
                <a:rPr sz="1200" dirty="0">
                  <a:ea typeface="+mn-lt"/>
                </a:rPr>
                <a:t> NVRAM</a:t>
              </a:r>
              <a:endParaRPr lang="en-US" sz="1200" dirty="0">
                <a:solidFill>
                  <a:srgbClr val="444444"/>
                </a:solidFill>
                <a:latin typeface="Arial"/>
                <a:cs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sz="1200" dirty="0"/>
                <a:t>10GbE/25GbE</a:t>
              </a:r>
              <a:r>
                <a:rPr lang="ja-JP" altLang="en-US" sz="1200" dirty="0"/>
                <a:t> </a:t>
              </a:r>
              <a:r>
                <a:rPr lang="en-US" altLang="ja-JP" sz="1200" dirty="0"/>
                <a:t>Network</a:t>
              </a:r>
              <a:endParaRPr lang="en-US" sz="1200" dirty="0">
                <a:solidFill>
                  <a:srgbClr val="444444"/>
                </a:solidFill>
                <a:latin typeface="Arial"/>
                <a:cs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,Sans-Serif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sz="1200" dirty="0"/>
                <a:t>2Uで12〜96TBの</a:t>
              </a:r>
              <a:r>
                <a:rPr lang="ja-JP" altLang="en-US" sz="1200" dirty="0"/>
                <a:t>実効</a:t>
              </a:r>
              <a:r>
                <a:rPr sz="1200" dirty="0" err="1"/>
                <a:t>容量</a:t>
              </a:r>
              <a:endParaRPr lang="en-US" sz="1200" dirty="0"/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,Sans-Serif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lang="en-US" sz="1200" dirty="0">
                  <a:solidFill>
                    <a:schemeClr val="bg1"/>
                  </a:solidFill>
                  <a:latin typeface="Arial"/>
                  <a:cs typeface="Arial"/>
                </a:rPr>
                <a:t>24TB</a:t>
              </a:r>
              <a:r>
                <a:rPr lang="ja-JP" altLang="en-US" sz="1200" dirty="0">
                  <a:solidFill>
                    <a:schemeClr val="bg1"/>
                  </a:solidFill>
                  <a:latin typeface="Arial"/>
                  <a:cs typeface="Arial"/>
                </a:rPr>
                <a:t>モデル又は</a:t>
              </a:r>
              <a:r>
                <a:rPr lang="en-US" altLang="ja-JP" sz="1200" dirty="0">
                  <a:solidFill>
                    <a:schemeClr val="bg1"/>
                  </a:solidFill>
                  <a:latin typeface="Arial"/>
                  <a:cs typeface="Arial"/>
                </a:rPr>
                <a:t>96TB</a:t>
              </a:r>
              <a:r>
                <a:rPr lang="ja-JP" altLang="en-US" sz="1200" dirty="0">
                  <a:solidFill>
                    <a:schemeClr val="bg1"/>
                  </a:solidFill>
                  <a:latin typeface="Arial"/>
                  <a:cs typeface="Arial"/>
                </a:rPr>
                <a:t>モデルが選択可能</a:t>
              </a:r>
              <a:endParaRPr lang="en-US" altLang="ja-JP" sz="1200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marL="169537" indent="-169537" defTabSz="685715">
                <a:spcBef>
                  <a:spcPts val="300"/>
                </a:spcBef>
                <a:spcAft>
                  <a:spcPts val="300"/>
                </a:spcAft>
                <a:buClr>
                  <a:srgbClr val="8F8F8F"/>
                </a:buClr>
                <a:buSzPct val="125000"/>
                <a:buFont typeface="Arial,Sans-Serif" panose="020B0604020202020204" pitchFamily="34" charset="0"/>
                <a:buChar char="•"/>
                <a:defRPr sz="1600" kern="120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defRP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cs typeface="Arial"/>
                </a:rPr>
                <a:t>24TB: Data Disk 12TB x 8, 96TB: Data Disk 12TB x10</a:t>
              </a:r>
              <a:r>
                <a:rPr lang="ja-JP" altLang="en-US" sz="1200" dirty="0">
                  <a:solidFill>
                    <a:srgbClr val="000000"/>
                  </a:solidFill>
                  <a:latin typeface="Arial"/>
                  <a:cs typeface="Arial"/>
                </a:rPr>
                <a:t>追加</a:t>
              </a:r>
              <a:endParaRPr lang="en-US" sz="12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A6986CD-65B3-44F2-BE1B-1FD546393BFA}"/>
                </a:ext>
              </a:extLst>
            </p:cNvPr>
            <p:cNvSpPr txBox="1"/>
            <p:nvPr/>
          </p:nvSpPr>
          <p:spPr>
            <a:xfrm>
              <a:off x="6470280" y="1864423"/>
              <a:ext cx="6349703" cy="22734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 defTabSz="514265">
                <a:lnSpc>
                  <a:spcPct val="85000"/>
                </a:lnSpc>
                <a:defRPr sz="1600" b="1" kern="1200" spc="20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lang="en-US" sz="1200" dirty="0" err="1"/>
                <a:t>PowerProtect</a:t>
              </a:r>
              <a:r>
                <a:rPr lang="en-US" sz="1200" dirty="0"/>
                <a:t> DM5500</a:t>
              </a:r>
              <a:r>
                <a:rPr sz="1200" dirty="0"/>
                <a:t>ハードウェア・プラットフォーム</a:t>
              </a: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B31A0D5C-D61F-481C-A1B2-7D83FD917A45}"/>
              </a:ext>
            </a:extLst>
          </p:cNvPr>
          <p:cNvGrpSpPr/>
          <p:nvPr/>
        </p:nvGrpSpPr>
        <p:grpSpPr>
          <a:xfrm>
            <a:off x="4950042" y="1437624"/>
            <a:ext cx="3942438" cy="2430270"/>
            <a:chOff x="6830919" y="1670295"/>
            <a:chExt cx="4894917" cy="3517410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D7C054B1-2963-4FC3-85A6-DE16EB6FF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830919" y="1670295"/>
              <a:ext cx="4894917" cy="3517410"/>
            </a:xfrm>
            <a:prstGeom prst="rect">
              <a:avLst/>
            </a:prstGeom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DCBA1591-901E-4050-B820-EF306075E859}"/>
                </a:ext>
              </a:extLst>
            </p:cNvPr>
            <p:cNvSpPr/>
            <p:nvPr/>
          </p:nvSpPr>
          <p:spPr>
            <a:xfrm>
              <a:off x="7906869" y="3946712"/>
              <a:ext cx="2766915" cy="383823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050" b="1" dirty="0">
                  <a:ln>
                    <a:solidFill>
                      <a:schemeClr val="tx2"/>
                    </a:solidFill>
                  </a:ln>
                  <a:solidFill>
                    <a:schemeClr val="bg2"/>
                  </a:solidFill>
                </a:rPr>
                <a:t>フロント・ドライブ・エンクロージャー</a:t>
              </a: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149F405B-EA94-43A2-BC12-6EE0D5A8693C}"/>
                </a:ext>
              </a:extLst>
            </p:cNvPr>
            <p:cNvSpPr/>
            <p:nvPr/>
          </p:nvSpPr>
          <p:spPr>
            <a:xfrm>
              <a:off x="7997544" y="2719376"/>
              <a:ext cx="2602006" cy="383823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050" b="1" dirty="0">
                  <a:ln>
                    <a:solidFill>
                      <a:schemeClr val="tx2"/>
                    </a:solidFill>
                  </a:ln>
                  <a:solidFill>
                    <a:schemeClr val="bg2"/>
                  </a:solidFill>
                </a:rPr>
                <a:t>リア・ドライブ・エンクロージャ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676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>
            <a:extLst>
              <a:ext uri="{FF2B5EF4-FFF2-40B4-BE49-F238E27FC236}">
                <a16:creationId xmlns:a16="http://schemas.microsoft.com/office/drawing/2014/main" id="{4CA59452-A1E5-0728-46EA-2E8725B81E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754" y="3391092"/>
            <a:ext cx="5832648" cy="144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DCC839BA-1C5A-656D-78AE-13E2BF77C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28601"/>
            <a:ext cx="8572500" cy="332399"/>
          </a:xfrm>
        </p:spPr>
        <p:txBody>
          <a:bodyPr/>
          <a:lstStyle/>
          <a:p>
            <a:r>
              <a:rPr lang="en-US" altLang="ja-JP" sz="2400" dirty="0" err="1">
                <a:solidFill>
                  <a:srgbClr val="0070C0"/>
                </a:solidFill>
              </a:rPr>
              <a:t>PowerProtect</a:t>
            </a:r>
            <a:r>
              <a:rPr lang="en-US" altLang="ja-JP" sz="2400" dirty="0">
                <a:solidFill>
                  <a:srgbClr val="0070C0"/>
                </a:solidFill>
              </a:rPr>
              <a:t> DM5500 HW </a:t>
            </a:r>
            <a:r>
              <a:rPr lang="ja-JP" altLang="en-US" sz="2400" dirty="0">
                <a:solidFill>
                  <a:srgbClr val="0070C0"/>
                </a:solidFill>
              </a:rPr>
              <a:t>概要 続き</a:t>
            </a:r>
            <a:endParaRPr kumimoji="1" lang="ja-JP" altLang="en-US" sz="2400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AE25FD8-383D-FB38-DB35-456A6ACC58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166420"/>
            <a:ext cx="6426714" cy="1323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A67A227D-CE3D-0E56-0C22-1F355248549D}"/>
              </a:ext>
            </a:extLst>
          </p:cNvPr>
          <p:cNvGraphicFramePr>
            <a:graphicFrameLocks noGrp="1"/>
          </p:cNvGraphicFramePr>
          <p:nvPr/>
        </p:nvGraphicFramePr>
        <p:xfrm>
          <a:off x="467544" y="681540"/>
          <a:ext cx="7830871" cy="141979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783268">
                  <a:extLst>
                    <a:ext uri="{9D8B030D-6E8A-4147-A177-3AD203B41FA5}">
                      <a16:colId xmlns:a16="http://schemas.microsoft.com/office/drawing/2014/main" val="3910433288"/>
                    </a:ext>
                  </a:extLst>
                </a:gridCol>
                <a:gridCol w="2704896">
                  <a:extLst>
                    <a:ext uri="{9D8B030D-6E8A-4147-A177-3AD203B41FA5}">
                      <a16:colId xmlns:a16="http://schemas.microsoft.com/office/drawing/2014/main" val="1838322688"/>
                    </a:ext>
                  </a:extLst>
                </a:gridCol>
                <a:gridCol w="3342707">
                  <a:extLst>
                    <a:ext uri="{9D8B030D-6E8A-4147-A177-3AD203B41FA5}">
                      <a16:colId xmlns:a16="http://schemas.microsoft.com/office/drawing/2014/main" val="1518315823"/>
                    </a:ext>
                  </a:extLst>
                </a:gridCol>
              </a:tblGrid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 0,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1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960GB SAS SS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system boot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用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52041618"/>
                  </a:ext>
                </a:extLst>
              </a:tr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 2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1.92TB cache SS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保護ストレージ メタデータ用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83281962"/>
                  </a:ext>
                </a:extLst>
              </a:tr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 3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3.84TB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cache SS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保護ストレージ メタデータ用（</a:t>
                      </a:r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96TB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モデルのみ）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60769200"/>
                  </a:ext>
                </a:extLst>
              </a:tr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 4,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5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12TB HD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PPDM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用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88848020"/>
                  </a:ext>
                </a:extLst>
              </a:tr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s 6 - 13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12TB HD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保護ストレージ データ用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08788956"/>
                  </a:ext>
                </a:extLst>
              </a:tr>
              <a:tr h="236633"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Drives 14 -  23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12TB HDD</a:t>
                      </a:r>
                      <a:endParaRPr kumimoji="1" lang="ja-JP" altLang="en-US" sz="1100" b="1" dirty="0">
                        <a:solidFill>
                          <a:schemeClr val="bg2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8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保護ストレージ データ用（</a:t>
                      </a:r>
                      <a:r>
                        <a:rPr kumimoji="1" lang="en-US" altLang="ja-JP" sz="1100" b="1" dirty="0">
                          <a:solidFill>
                            <a:schemeClr val="bg2"/>
                          </a:solidFill>
                        </a:rPr>
                        <a:t>96TB</a:t>
                      </a:r>
                      <a:r>
                        <a:rPr kumimoji="1" lang="ja-JP" altLang="en-US" sz="1100" b="1" dirty="0">
                          <a:solidFill>
                            <a:schemeClr val="bg2"/>
                          </a:solidFill>
                        </a:rPr>
                        <a:t>モデルのみ）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10107250"/>
                  </a:ext>
                </a:extLst>
              </a:tr>
            </a:tbl>
          </a:graphicData>
        </a:graphic>
      </p:graphicFrame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8A3738E2-7CB3-CBE9-43F7-EB1437DB392E}"/>
              </a:ext>
            </a:extLst>
          </p:cNvPr>
          <p:cNvSpPr/>
          <p:nvPr/>
        </p:nvSpPr>
        <p:spPr>
          <a:xfrm>
            <a:off x="89502" y="2625757"/>
            <a:ext cx="2228514" cy="265193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50" b="1" dirty="0">
                <a:ln>
                  <a:solidFill>
                    <a:schemeClr val="tx2"/>
                  </a:solidFill>
                </a:ln>
                <a:solidFill>
                  <a:schemeClr val="bg2"/>
                </a:solidFill>
              </a:rPr>
              <a:t>フロント・ドライブ・エンクロージャー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D93150F3-8310-78DF-5B6E-5BAE2FF79A9E}"/>
              </a:ext>
            </a:extLst>
          </p:cNvPr>
          <p:cNvSpPr/>
          <p:nvPr/>
        </p:nvSpPr>
        <p:spPr>
          <a:xfrm>
            <a:off x="143508" y="3921901"/>
            <a:ext cx="2095694" cy="265193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50" b="1" dirty="0">
                <a:ln>
                  <a:solidFill>
                    <a:schemeClr val="tx2"/>
                  </a:solidFill>
                </a:ln>
                <a:solidFill>
                  <a:schemeClr val="bg2"/>
                </a:solidFill>
              </a:rPr>
              <a:t>リア・ドライブ・エンクロージャー</a:t>
            </a:r>
          </a:p>
        </p:txBody>
      </p:sp>
    </p:spTree>
    <p:extLst>
      <p:ext uri="{BB962C8B-B14F-4D97-AF65-F5344CB8AC3E}">
        <p14:creationId xmlns:p14="http://schemas.microsoft.com/office/powerpoint/2010/main" val="1803401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30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9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7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7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7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9283"/>
</p:tagLst>
</file>

<file path=ppt/theme/theme1.xml><?xml version="1.0" encoding="utf-8"?>
<a:theme xmlns:a="http://schemas.openxmlformats.org/drawingml/2006/main" name="Dell Tech 2019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DT2022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2C50AC2-C080-43CE-9B5C-6D28428B9036}" vid="{D2942B45-32B9-482C-9B3B-73E6533759E8}"/>
    </a:ext>
  </a:extLst>
</a:theme>
</file>

<file path=ppt/theme/theme2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273530087E1B6643ACC638208B6CA1CA" ma:contentTypeVersion="14" ma:contentTypeDescription="新しいドキュメントを作成します。" ma:contentTypeScope="" ma:versionID="ff5bf2edb6c5170b92db655e9989fa0b">
  <xsd:schema xmlns:xsd="http://www.w3.org/2001/XMLSchema" xmlns:xs="http://www.w3.org/2001/XMLSchema" xmlns:p="http://schemas.microsoft.com/office/2006/metadata/properties" xmlns:ns2="d6df7fb9-99b6-4ed1-934a-412cacef627f" xmlns:ns3="c8f9130d-b97d-42cc-bf52-a24d61daadcd" targetNamespace="http://schemas.microsoft.com/office/2006/metadata/properties" ma:root="true" ma:fieldsID="a299cdd2680127f0317ab311c4133f49" ns2:_="" ns3:_="">
    <xsd:import namespace="d6df7fb9-99b6-4ed1-934a-412cacef627f"/>
    <xsd:import namespace="c8f9130d-b97d-42cc-bf52-a24d61daad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com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df7fb9-99b6-4ed1-934a-412cacef62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f4a8f3d3-8814-4760-a664-575ca63320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comments" ma:index="21" nillable="true" ma:displayName="comments" ma:default="N/A" ma:format="Dropdown" ma:internalName="comment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f9130d-b97d-42cc-bf52-a24d61daadc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74b5b17-25f2-45f4-8ef9-9e7339d53e40}" ma:internalName="TaxCatchAll" ma:showField="CatchAllData" ma:web="c8f9130d-b97d-42cc-bf52-a24d61daad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d6df7fb9-99b6-4ed1-934a-412cacef627f" xsi:nil="true"/>
    <SharedWithUsers xmlns="c8f9130d-b97d-42cc-bf52-a24d61daadcd">
      <UserInfo>
        <DisplayName>Valette, Adeline</DisplayName>
        <AccountId>13</AccountId>
        <AccountType/>
      </UserInfo>
    </SharedWithUsers>
    <TaxCatchAll xmlns="c8f9130d-b97d-42cc-bf52-a24d61daadcd" xsi:nil="true"/>
    <lcf76f155ced4ddcb4097134ff3c332f xmlns="d6df7fb9-99b6-4ed1-934a-412cacef627f">
      <Terms xmlns="http://schemas.microsoft.com/office/infopath/2007/PartnerControls"/>
    </lcf76f155ced4ddcb4097134ff3c332f>
    <comments xmlns="d6df7fb9-99b6-4ed1-934a-412cacef627f">N/A</comments>
  </documentManagement>
</p:properties>
</file>

<file path=customXml/itemProps1.xml><?xml version="1.0" encoding="utf-8"?>
<ds:datastoreItem xmlns:ds="http://schemas.openxmlformats.org/officeDocument/2006/customXml" ds:itemID="{9C269918-A1E4-4972-B41C-3C8D845FF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df7fb9-99b6-4ed1-934a-412cacef627f"/>
    <ds:schemaRef ds:uri="c8f9130d-b97d-42cc-bf52-a24d61daad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386D52-D6CF-46F9-A907-6D308A2FD1D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58FED0-6789-49C0-88C3-78EBACA23412}">
  <ds:schemaRefs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fd64762f-7433-427c-a209-0cbbb48a294a"/>
    <ds:schemaRef ds:uri="711da314-630b-4507-98a1-78d58dc792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d6df7fb9-99b6-4ed1-934a-412cacef627f"/>
    <ds:schemaRef ds:uri="c8f9130d-b97d-42cc-bf52-a24d61daadc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l_Tech 2019</Template>
  <TotalTime>247</TotalTime>
  <Words>2766</Words>
  <Application>Microsoft Office PowerPoint</Application>
  <PresentationFormat>画面に合わせる (16:9)</PresentationFormat>
  <Paragraphs>556</Paragraphs>
  <Slides>39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9</vt:i4>
      </vt:variant>
    </vt:vector>
  </HeadingPairs>
  <TitlesOfParts>
    <vt:vector size="49" baseType="lpstr">
      <vt:lpstr>Arial Nova Light 見出し</vt:lpstr>
      <vt:lpstr>Arial,Sans-Serif</vt:lpstr>
      <vt:lpstr>Meiryo UI</vt:lpstr>
      <vt:lpstr>Museo Sans For Dell</vt:lpstr>
      <vt:lpstr>Arial</vt:lpstr>
      <vt:lpstr>Calibri</vt:lpstr>
      <vt:lpstr>Roboto Light</vt:lpstr>
      <vt:lpstr>Wingdings</vt:lpstr>
      <vt:lpstr>Dell Tech 2019</vt:lpstr>
      <vt:lpstr>think-cell Slide</vt:lpstr>
      <vt:lpstr>最新データ保護アプライアンス登場！ PowerProtect DM5500とは？</vt:lpstr>
      <vt:lpstr>PowerPoint プレゼンテーション</vt:lpstr>
      <vt:lpstr>PowerPoint プレゼンテーション</vt:lpstr>
      <vt:lpstr>PowerProtect Data Manager（PPDM）</vt:lpstr>
      <vt:lpstr>PowerProtect DDVE</vt:lpstr>
      <vt:lpstr>PowerProtect Data Manager Appliance DM5500</vt:lpstr>
      <vt:lpstr>ハードウェア</vt:lpstr>
      <vt:lpstr>PowerProtect DM5500 HW 概要</vt:lpstr>
      <vt:lpstr>PowerProtect DM5500 HW 概要 続き</vt:lpstr>
      <vt:lpstr>PowerProtect DM5500 ディスク – ストレージ</vt:lpstr>
      <vt:lpstr>ネットワーク</vt:lpstr>
      <vt:lpstr>ネットワーク構成の前提条件: スイッチ接続</vt:lpstr>
      <vt:lpstr>PowerProtect DM5500 接続用のネットワーク ポート</vt:lpstr>
      <vt:lpstr>アップリンク構成</vt:lpstr>
      <vt:lpstr>インターフェイスと IP</vt:lpstr>
      <vt:lpstr>ソフトウェア</vt:lpstr>
      <vt:lpstr>ソフトウェア・アーキテクチャー及び機能</vt:lpstr>
      <vt:lpstr>ソフトウェア・アーキテクチャー及び機能</vt:lpstr>
      <vt:lpstr>ライセンス</vt:lpstr>
      <vt:lpstr>PowerProtect Data Managerの特徴</vt:lpstr>
      <vt:lpstr>Power Protect Data Manager</vt:lpstr>
      <vt:lpstr>セルフ サービスとガバナンス </vt:lpstr>
      <vt:lpstr>SLA Compliance機能</vt:lpstr>
      <vt:lpstr>Protection Rule機能</vt:lpstr>
      <vt:lpstr>マルチクラウドへの拡張</vt:lpstr>
      <vt:lpstr>PowerProtect Data Managerの特徴</vt:lpstr>
      <vt:lpstr>VM プロテクションの概要及び機能</vt:lpstr>
      <vt:lpstr>From19.9 Transparent Snapshot</vt:lpstr>
      <vt:lpstr>従来のVMイメージバックアップ構造</vt:lpstr>
      <vt:lpstr>PowerPoint プレゼンテーション</vt:lpstr>
      <vt:lpstr>最新イノベーションの効果</vt:lpstr>
      <vt:lpstr>検証結果)対象VMの IO Rate の推移</vt:lpstr>
      <vt:lpstr>検証結果)Traditional VADP</vt:lpstr>
      <vt:lpstr>検証結果) Transparent Snapshots </vt:lpstr>
      <vt:lpstr>パフォーマンスとスケーラビリティー</vt:lpstr>
      <vt:lpstr>Transparent Snapshotと他の方式の比較</vt:lpstr>
      <vt:lpstr>TRANSPARENT SNAPSHOTS : サマリー</vt:lpstr>
      <vt:lpstr>PowerPoint プレゼンテーション</vt:lpstr>
      <vt:lpstr>PowerPoint プレゼンテーション</vt:lpstr>
    </vt:vector>
  </TitlesOfParts>
  <Company>Dell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 consectetur</dc:title>
  <dc:creator>jbrindisi@cgiinteractive.onmicrosoft.com</dc:creator>
  <cp:lastModifiedBy>Kondo, Masaki</cp:lastModifiedBy>
  <cp:revision>6</cp:revision>
  <cp:lastPrinted>2018-09-10T14:53:10Z</cp:lastPrinted>
  <dcterms:created xsi:type="dcterms:W3CDTF">2019-12-19T13:18:18Z</dcterms:created>
  <dcterms:modified xsi:type="dcterms:W3CDTF">2023-04-28T05:1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mplianceAssetId" pid="2">
    <vt:lpwstr/>
  </property>
  <property fmtid="{D5CDD505-2E9C-101B-9397-08002B2CF9AE}" name="ContentTypeId" pid="3">
    <vt:lpwstr>0x010100273530087E1B6643ACC638208B6CA1CA</vt:lpwstr>
  </property>
  <property fmtid="{D5CDD505-2E9C-101B-9397-08002B2CF9AE}" name="MSIP_Label_da6fab74-d5af-4af7-a9a4-78d84655a626_ActionId" pid="4">
    <vt:lpwstr>0e13406e-64b2-4eba-8b74-f7d935757e0d</vt:lpwstr>
  </property>
  <property fmtid="{D5CDD505-2E9C-101B-9397-08002B2CF9AE}" name="MSIP_Label_da6fab74-d5af-4af7-a9a4-78d84655a626_Application" pid="5">
    <vt:lpwstr>Microsoft Azure Information Protection</vt:lpwstr>
  </property>
  <property fmtid="{D5CDD505-2E9C-101B-9397-08002B2CF9AE}" name="MSIP_Label_da6fab74-d5af-4af7-a9a4-78d84655a626_Enabled" pid="6">
    <vt:lpwstr>True</vt:lpwstr>
  </property>
  <property fmtid="{D5CDD505-2E9C-101B-9397-08002B2CF9AE}" name="MSIP_Label_da6fab74-d5af-4af7-a9a4-78d84655a626_Extended_MSFT_Method" pid="7">
    <vt:lpwstr>Manual</vt:lpwstr>
  </property>
  <property fmtid="{D5CDD505-2E9C-101B-9397-08002B2CF9AE}" name="MSIP_Label_da6fab74-d5af-4af7-a9a4-78d84655a626_Name" pid="8">
    <vt:lpwstr>Visual Marking</vt:lpwstr>
  </property>
  <property fmtid="{D5CDD505-2E9C-101B-9397-08002B2CF9AE}" name="MSIP_Label_da6fab74-d5af-4af7-a9a4-78d84655a626_Owner" pid="9">
    <vt:lpwstr>Adeline_Valette@dell.com</vt:lpwstr>
  </property>
  <property fmtid="{D5CDD505-2E9C-101B-9397-08002B2CF9AE}" name="MSIP_Label_da6fab74-d5af-4af7-a9a4-78d84655a626_Parent" pid="10">
    <vt:lpwstr>7de70ee2-0cb4-4d60-aee5-75ef2c4c8a90</vt:lpwstr>
  </property>
  <property fmtid="{D5CDD505-2E9C-101B-9397-08002B2CF9AE}" name="MSIP_Label_da6fab74-d5af-4af7-a9a4-78d84655a626_SetDate" pid="11">
    <vt:lpwstr>2020-06-11T07:29:54.9850783Z</vt:lpwstr>
  </property>
  <property fmtid="{D5CDD505-2E9C-101B-9397-08002B2CF9AE}" name="MSIP_Label_da6fab74-d5af-4af7-a9a4-78d84655a626_SiteId" pid="12">
    <vt:lpwstr>945c199a-83a2-4e80-9f8c-5a91be5752dd</vt:lpwstr>
  </property>
  <property fmtid="{D5CDD505-2E9C-101B-9397-08002B2CF9AE}" name="MSIP_Label_dad3be33-4108-4738-9e07-d8656a181486_ActionId" pid="13">
    <vt:lpwstr>16736285-396a-4947-a6be-8f4780541891</vt:lpwstr>
  </property>
  <property fmtid="{D5CDD505-2E9C-101B-9397-08002B2CF9AE}" name="MSIP_Label_dad3be33-4108-4738-9e07-d8656a181486_ContentBits" pid="14">
    <vt:lpwstr>0</vt:lpwstr>
  </property>
  <property fmtid="{D5CDD505-2E9C-101B-9397-08002B2CF9AE}" name="MSIP_Label_dad3be33-4108-4738-9e07-d8656a181486_Enabled" pid="15">
    <vt:lpwstr>true</vt:lpwstr>
  </property>
  <property fmtid="{D5CDD505-2E9C-101B-9397-08002B2CF9AE}" name="MSIP_Label_dad3be33-4108-4738-9e07-d8656a181486_Method" pid="16">
    <vt:lpwstr>Privileged</vt:lpwstr>
  </property>
  <property fmtid="{D5CDD505-2E9C-101B-9397-08002B2CF9AE}" name="MSIP_Label_dad3be33-4108-4738-9e07-d8656a181486_Name" pid="17">
    <vt:lpwstr>Public No Visual Label</vt:lpwstr>
  </property>
  <property fmtid="{D5CDD505-2E9C-101B-9397-08002B2CF9AE}" name="MSIP_Label_dad3be33-4108-4738-9e07-d8656a181486_SetDate" pid="18">
    <vt:lpwstr>2022-03-23T08:00:46Z</vt:lpwstr>
  </property>
  <property fmtid="{D5CDD505-2E9C-101B-9397-08002B2CF9AE}" name="MSIP_Label_dad3be33-4108-4738-9e07-d8656a181486_SiteId" pid="19">
    <vt:lpwstr>945c199a-83a2-4e80-9f8c-5a91be5752dd</vt:lpwstr>
  </property>
  <property fmtid="{D5CDD505-2E9C-101B-9397-08002B2CF9AE}" name="NXPowerLiteLastOptimized" pid="20">
    <vt:lpwstr>3763178</vt:lpwstr>
  </property>
  <property fmtid="{D5CDD505-2E9C-101B-9397-08002B2CF9AE}" name="NXPowerLiteSettings" pid="21">
    <vt:lpwstr>C700052003A000</vt:lpwstr>
  </property>
  <property fmtid="{D5CDD505-2E9C-101B-9397-08002B2CF9AE}" name="NXPowerLiteVersion" pid="22">
    <vt:lpwstr>D8.0.5</vt:lpwstr>
  </property>
  <property fmtid="{D5CDD505-2E9C-101B-9397-08002B2CF9AE}" name="Order" pid="23">
    <vt:lpwstr>158800.000000000</vt:lpwstr>
  </property>
  <property fmtid="{D5CDD505-2E9C-101B-9397-08002B2CF9AE}" name="TriggerFlowInfo" pid="24">
    <vt:lpwstr/>
  </property>
  <property fmtid="{D5CDD505-2E9C-101B-9397-08002B2CF9AE}" name="_ExtendedDescription" pid="25">
    <vt:lpwstr/>
  </property>
  <property fmtid="{D5CDD505-2E9C-101B-9397-08002B2CF9AE}" name="aiplabel" pid="26">
    <vt:lpwstr>Internal Use Visual Marking</vt:lpwstr>
  </property>
</Properties>
</file>